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81" r:id="rId2"/>
    <p:sldId id="314" r:id="rId3"/>
    <p:sldId id="315" r:id="rId4"/>
    <p:sldId id="330" r:id="rId5"/>
    <p:sldId id="321" r:id="rId6"/>
    <p:sldId id="322" r:id="rId7"/>
    <p:sldId id="323" r:id="rId8"/>
    <p:sldId id="324" r:id="rId9"/>
    <p:sldId id="325" r:id="rId10"/>
    <p:sldId id="326" r:id="rId11"/>
    <p:sldId id="327" r:id="rId12"/>
    <p:sldId id="331" r:id="rId13"/>
    <p:sldId id="328" r:id="rId14"/>
    <p:sldId id="316" r:id="rId15"/>
    <p:sldId id="329" r:id="rId16"/>
  </p:sldIdLst>
  <p:sldSz cx="12192000" cy="6858000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04FF464B-9DB7-4BC3-9902-DB8054547AFB}">
          <p14:sldIdLst>
            <p14:sldId id="281"/>
          </p14:sldIdLst>
        </p14:section>
        <p14:section name="Programm" id="{CACBCF21-E4E0-C948-B377-BEF655811BF5}">
          <p14:sldIdLst>
            <p14:sldId id="314"/>
          </p14:sldIdLst>
        </p14:section>
        <p14:section name="Soz" id="{BDB5B9EF-CB4B-E145-8FB7-4C49C9BF431B}">
          <p14:sldIdLst>
            <p14:sldId id="315"/>
          </p14:sldIdLst>
        </p14:section>
        <p14:section name="Building" id="{968E487C-5E6C-2743-B113-FF1646EFC91B}">
          <p14:sldIdLst>
            <p14:sldId id="330"/>
            <p14:sldId id="321"/>
            <p14:sldId id="322"/>
            <p14:sldId id="323"/>
            <p14:sldId id="324"/>
            <p14:sldId id="325"/>
            <p14:sldId id="326"/>
            <p14:sldId id="327"/>
            <p14:sldId id="331"/>
          </p14:sldIdLst>
        </p14:section>
        <p14:section name="Directions" id="{0D422F52-5B46-494F-902B-5DD1448C111E}">
          <p14:sldIdLst>
            <p14:sldId id="328"/>
            <p14:sldId id="316"/>
            <p14:sldId id="329"/>
          </p14:sldIdLst>
        </p14:section>
        <p14:section name="Tips &amp; tricks" id="{24F43FB3-B311-41A6-9DB5-2FAAC8A4C16E}">
          <p14:sldIdLst/>
        </p14:section>
        <p14:section name="Examples" id="{CE6DCDBE-8F98-4A54-BF80-BF35D4816DF0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79A"/>
    <a:srgbClr val="F3F2F1"/>
    <a:srgbClr val="E6E6E6"/>
    <a:srgbClr val="FFFFFF"/>
    <a:srgbClr val="FF9900"/>
    <a:srgbClr val="1C768F"/>
    <a:srgbClr val="09B2AC"/>
    <a:srgbClr val="014A6B"/>
    <a:srgbClr val="4DC7D2"/>
    <a:srgbClr val="04B1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98" autoAdjust="0"/>
    <p:restoredTop sz="89119" autoAdjust="0"/>
  </p:normalViewPr>
  <p:slideViewPr>
    <p:cSldViewPr snapToGrid="0" showGuides="1">
      <p:cViewPr>
        <p:scale>
          <a:sx n="120" d="100"/>
          <a:sy n="120" d="100"/>
        </p:scale>
        <p:origin x="424" y="8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7398"/>
    </p:cViewPr>
  </p:sorterViewPr>
  <p:notesViewPr>
    <p:cSldViewPr snapToGrid="0">
      <p:cViewPr varScale="1">
        <p:scale>
          <a:sx n="120" d="100"/>
          <a:sy n="120" d="100"/>
        </p:scale>
        <p:origin x="4482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Work Sans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>
                <a:latin typeface="Work Sans" pitchFamily="2" charset="0"/>
              </a:rPr>
              <a:t>3/22/26</a:t>
            </a:fld>
            <a:endParaRPr lang="en-US" dirty="0">
              <a:latin typeface="Work Sans" pitchFamily="2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Work Sans" pitchFamily="2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>
                <a:latin typeface="Work Sans" pitchFamily="2" charset="0"/>
              </a:rPr>
              <a:t>‹Nr.›</a:t>
            </a:fld>
            <a:endParaRPr lang="en-US" dirty="0">
              <a:latin typeface="Work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Work San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Work Sans" pitchFamily="2" charset="0"/>
              </a:defRPr>
            </a:lvl1pPr>
          </a:lstStyle>
          <a:p>
            <a:fld id="{0D00A665-AB63-487C-A689-A96D5AA0C864}" type="datetimeFigureOut">
              <a:rPr lang="en-US" smtClean="0"/>
              <a:pPr/>
              <a:t>3/22/26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Work San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Work Sans" pitchFamily="2" charset="0"/>
              </a:defRPr>
            </a:lvl1pPr>
          </a:lstStyle>
          <a:p>
            <a:fld id="{04629F0A-9DE2-44AB-9A84-CC28BAF7B39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Work Sans SemiBold" pitchFamily="2" charset="0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Work Sans" pitchFamily="2" charset="0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Work Sans" pitchFamily="2" charset="0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Work Sans" pitchFamily="2" charset="0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Work Sans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409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84C000-ACB5-1204-677E-BAB6AF0BB8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B686B39-A9ED-E063-4E07-415949F4B2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727C7DE-CEA2-A666-F879-9BF455384E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inweis</a:t>
            </a:r>
            <a:r>
              <a:rPr lang="en-US" dirty="0"/>
              <a:t> auf </a:t>
            </a:r>
            <a:r>
              <a:rPr lang="en-US" dirty="0" err="1"/>
              <a:t>Arbeiitsräum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05C7F3-EE5D-139E-C9F4-BAEEF2623F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802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7873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B2F470-FAA2-FCEF-618E-39DE164578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88C0A56-6086-4BA8-883D-2585CA789E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FCE70A0-1E6A-D431-E382-4372B39971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inweis</a:t>
            </a:r>
            <a:r>
              <a:rPr lang="en-US" dirty="0"/>
              <a:t> auf </a:t>
            </a:r>
            <a:r>
              <a:rPr lang="en-US" dirty="0" err="1"/>
              <a:t>Arbeiitsräum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75898A-0FEA-04BA-F111-899E02D0E5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8741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3AA57D-41E3-E821-2ACE-F1D99AE51E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EAD48EC-BC2C-704A-FDDA-0EF3E91D2A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7DA5D9F-563C-23C0-F96C-72391B15C7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inweis</a:t>
            </a:r>
            <a:r>
              <a:rPr lang="en-US" dirty="0"/>
              <a:t> auf </a:t>
            </a:r>
            <a:r>
              <a:rPr lang="en-US" dirty="0" err="1"/>
              <a:t>Arbeiitsräum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7A70D80-DB4A-905E-2C5F-3790BC7778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718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013E7A-04E4-944D-86B2-1F0A55E67E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4FB6353-C6AC-ACD4-0865-766041E238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334393E-72B1-86D3-53FA-4D3960E06E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inweis</a:t>
            </a:r>
            <a:r>
              <a:rPr lang="en-US" dirty="0"/>
              <a:t> auf </a:t>
            </a:r>
            <a:r>
              <a:rPr lang="en-US" dirty="0" err="1"/>
              <a:t>Arbeiitsräum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7C1CBA-C7B4-AFAE-0636-28B87B1B92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18328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078A3E-9447-1A5F-E2B5-7933227FFA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60E5D2E-34DD-FA81-D7E6-A55DF78D50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9209E6F-FBF9-95B6-0323-6C188DE0E1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inweis</a:t>
            </a:r>
            <a:r>
              <a:rPr lang="en-US" dirty="0"/>
              <a:t> auf </a:t>
            </a:r>
            <a:r>
              <a:rPr lang="en-US" dirty="0" err="1"/>
              <a:t>Arbeiitsräum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83A9FF-2E4D-07DE-A077-28FEA82258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6128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80E270-7193-D276-111F-C33945A734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48F8562-9FE7-DE61-1238-327958ACCA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7BF0C4D-49B4-48D2-D2D1-19B7980B76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inweis</a:t>
            </a:r>
            <a:r>
              <a:rPr lang="en-US" dirty="0"/>
              <a:t> auf </a:t>
            </a:r>
            <a:r>
              <a:rPr lang="en-US" dirty="0" err="1"/>
              <a:t>Arbeiitsräum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81787B6-8855-FBAA-3DFD-8F0CC92602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856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F9D4FA-ED07-43EF-6ADF-F10598BC0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61FD193-583E-3B1C-7BC3-1312E64BB2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7226A07-46AB-7CDF-F051-9CB595C3A9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inweis</a:t>
            </a:r>
            <a:r>
              <a:rPr lang="en-US" dirty="0"/>
              <a:t> auf </a:t>
            </a:r>
            <a:r>
              <a:rPr lang="en-US" dirty="0" err="1"/>
              <a:t>Arbeiitsräum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68BF1E9-BD28-4324-E34D-70DBBA60EB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4548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55796A-B0CE-3D70-FE36-0D54B35BC1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6E91977-6685-98B1-5ECB-58E1C5ED40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83AB719-6892-5D51-595C-E9BFF7AC00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inweis</a:t>
            </a:r>
            <a:r>
              <a:rPr lang="en-US" dirty="0"/>
              <a:t> auf </a:t>
            </a:r>
            <a:r>
              <a:rPr lang="en-US" dirty="0" err="1"/>
              <a:t>Arbeiitsräum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769E45-8DBC-A755-0E17-13EB94BD3B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086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sv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svg"/><Relationship Id="rId5" Type="http://schemas.openxmlformats.org/officeDocument/2006/relationships/image" Target="../media/image4.sv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ihandform 20">
            <a:extLst>
              <a:ext uri="{FF2B5EF4-FFF2-40B4-BE49-F238E27FC236}">
                <a16:creationId xmlns:a16="http://schemas.microsoft.com/office/drawing/2014/main" id="{C5FE2E1F-BA4B-910C-42AB-316297CD9C27}"/>
              </a:ext>
            </a:extLst>
          </p:cNvPr>
          <p:cNvSpPr/>
          <p:nvPr userDrawn="1"/>
        </p:nvSpPr>
        <p:spPr>
          <a:xfrm rot="15744484">
            <a:off x="992685" y="-1588652"/>
            <a:ext cx="3521947" cy="6002043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4528868"/>
              <a:gd name="connsiteY0" fmla="*/ 0 h 4944912"/>
              <a:gd name="connsiteX1" fmla="*/ 4528868 w 4528868"/>
              <a:gd name="connsiteY1" fmla="*/ 8626 h 4944912"/>
              <a:gd name="connsiteX2" fmla="*/ 4520241 w 4528868"/>
              <a:gd name="connsiteY2" fmla="*/ 4416724 h 4944912"/>
              <a:gd name="connsiteX3" fmla="*/ 2453788 w 4528868"/>
              <a:gd name="connsiteY3" fmla="*/ 4944912 h 4944912"/>
              <a:gd name="connsiteX4" fmla="*/ 0 w 4528868"/>
              <a:gd name="connsiteY4" fmla="*/ 0 h 4944912"/>
              <a:gd name="connsiteX0" fmla="*/ 0 w 4528868"/>
              <a:gd name="connsiteY0" fmla="*/ 0 h 4949837"/>
              <a:gd name="connsiteX1" fmla="*/ 4528868 w 4528868"/>
              <a:gd name="connsiteY1" fmla="*/ 8626 h 4949837"/>
              <a:gd name="connsiteX2" fmla="*/ 2411228 w 4528868"/>
              <a:gd name="connsiteY2" fmla="*/ 4949837 h 4949837"/>
              <a:gd name="connsiteX3" fmla="*/ 2453788 w 4528868"/>
              <a:gd name="connsiteY3" fmla="*/ 4944912 h 4949837"/>
              <a:gd name="connsiteX4" fmla="*/ 0 w 4528868"/>
              <a:gd name="connsiteY4" fmla="*/ 0 h 4949837"/>
              <a:gd name="connsiteX0" fmla="*/ 0 w 3196124"/>
              <a:gd name="connsiteY0" fmla="*/ 0 h 4949837"/>
              <a:gd name="connsiteX1" fmla="*/ 3196124 w 3196124"/>
              <a:gd name="connsiteY1" fmla="*/ 495434 h 4949837"/>
              <a:gd name="connsiteX2" fmla="*/ 2411228 w 3196124"/>
              <a:gd name="connsiteY2" fmla="*/ 4949837 h 4949837"/>
              <a:gd name="connsiteX3" fmla="*/ 2453788 w 3196124"/>
              <a:gd name="connsiteY3" fmla="*/ 4944912 h 4949837"/>
              <a:gd name="connsiteX4" fmla="*/ 0 w 3196124"/>
              <a:gd name="connsiteY4" fmla="*/ 0 h 4949837"/>
              <a:gd name="connsiteX0" fmla="*/ 0 w 2556957"/>
              <a:gd name="connsiteY0" fmla="*/ 0 h 4949837"/>
              <a:gd name="connsiteX1" fmla="*/ 2556957 w 2556957"/>
              <a:gd name="connsiteY1" fmla="*/ 445491 h 4949837"/>
              <a:gd name="connsiteX2" fmla="*/ 2411228 w 2556957"/>
              <a:gd name="connsiteY2" fmla="*/ 4949837 h 4949837"/>
              <a:gd name="connsiteX3" fmla="*/ 2453788 w 2556957"/>
              <a:gd name="connsiteY3" fmla="*/ 4944912 h 4949837"/>
              <a:gd name="connsiteX4" fmla="*/ 0 w 2556957"/>
              <a:gd name="connsiteY4" fmla="*/ 0 h 4949837"/>
              <a:gd name="connsiteX0" fmla="*/ 0 w 3079177"/>
              <a:gd name="connsiteY0" fmla="*/ 0 h 4949837"/>
              <a:gd name="connsiteX1" fmla="*/ 3079177 w 3079177"/>
              <a:gd name="connsiteY1" fmla="*/ 452872 h 4949837"/>
              <a:gd name="connsiteX2" fmla="*/ 2411228 w 3079177"/>
              <a:gd name="connsiteY2" fmla="*/ 4949837 h 4949837"/>
              <a:gd name="connsiteX3" fmla="*/ 2453788 w 3079177"/>
              <a:gd name="connsiteY3" fmla="*/ 4944912 h 4949837"/>
              <a:gd name="connsiteX4" fmla="*/ 0 w 3079177"/>
              <a:gd name="connsiteY4" fmla="*/ 0 h 4949837"/>
              <a:gd name="connsiteX0" fmla="*/ 0 w 3079177"/>
              <a:gd name="connsiteY0" fmla="*/ 0 h 4983024"/>
              <a:gd name="connsiteX1" fmla="*/ 3079177 w 3079177"/>
              <a:gd name="connsiteY1" fmla="*/ 452872 h 4983024"/>
              <a:gd name="connsiteX2" fmla="*/ 2411228 w 3079177"/>
              <a:gd name="connsiteY2" fmla="*/ 4949837 h 4983024"/>
              <a:gd name="connsiteX3" fmla="*/ 2219699 w 3079177"/>
              <a:gd name="connsiteY3" fmla="*/ 4983024 h 4983024"/>
              <a:gd name="connsiteX4" fmla="*/ 0 w 3079177"/>
              <a:gd name="connsiteY4" fmla="*/ 0 h 4983024"/>
              <a:gd name="connsiteX0" fmla="*/ 0 w 3079177"/>
              <a:gd name="connsiteY0" fmla="*/ 0 h 5425792"/>
              <a:gd name="connsiteX1" fmla="*/ 3079177 w 3079177"/>
              <a:gd name="connsiteY1" fmla="*/ 452872 h 5425792"/>
              <a:gd name="connsiteX2" fmla="*/ 2716116 w 3079177"/>
              <a:gd name="connsiteY2" fmla="*/ 5425792 h 5425792"/>
              <a:gd name="connsiteX3" fmla="*/ 2219699 w 3079177"/>
              <a:gd name="connsiteY3" fmla="*/ 4983024 h 5425792"/>
              <a:gd name="connsiteX4" fmla="*/ 0 w 3079177"/>
              <a:gd name="connsiteY4" fmla="*/ 0 h 5425792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117286"/>
              <a:gd name="connsiteY0" fmla="*/ 0 h 5042904"/>
              <a:gd name="connsiteX1" fmla="*/ 3117286 w 3117286"/>
              <a:gd name="connsiteY1" fmla="*/ 476607 h 5042904"/>
              <a:gd name="connsiteX2" fmla="*/ 2470436 w 3117286"/>
              <a:gd name="connsiteY2" fmla="*/ 5042904 h 5042904"/>
              <a:gd name="connsiteX3" fmla="*/ 2219699 w 3117286"/>
              <a:gd name="connsiteY3" fmla="*/ 4983024 h 5042904"/>
              <a:gd name="connsiteX4" fmla="*/ 0 w 3117286"/>
              <a:gd name="connsiteY4" fmla="*/ 0 h 5042904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525242 w 3170361"/>
              <a:gd name="connsiteY3" fmla="*/ 4953653 h 4963573"/>
              <a:gd name="connsiteX4" fmla="*/ 0 w 3170361"/>
              <a:gd name="connsiteY4" fmla="*/ 0 h 4963573"/>
              <a:gd name="connsiteX0" fmla="*/ 0 w 3173082"/>
              <a:gd name="connsiteY0" fmla="*/ 0 h 4963573"/>
              <a:gd name="connsiteX1" fmla="*/ 3173082 w 3173082"/>
              <a:gd name="connsiteY1" fmla="*/ 378537 h 4963573"/>
              <a:gd name="connsiteX2" fmla="*/ 2523511 w 3173082"/>
              <a:gd name="connsiteY2" fmla="*/ 4963573 h 4963573"/>
              <a:gd name="connsiteX3" fmla="*/ 2525242 w 3173082"/>
              <a:gd name="connsiteY3" fmla="*/ 4953653 h 4963573"/>
              <a:gd name="connsiteX4" fmla="*/ 0 w 3173082"/>
              <a:gd name="connsiteY4" fmla="*/ 0 h 496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73082" h="4963573">
                <a:moveTo>
                  <a:pt x="0" y="0"/>
                </a:moveTo>
                <a:lnTo>
                  <a:pt x="3173082" y="378537"/>
                </a:lnTo>
                <a:cubicBezTo>
                  <a:pt x="2987832" y="1816056"/>
                  <a:pt x="2718969" y="3527305"/>
                  <a:pt x="2523511" y="4963573"/>
                </a:cubicBezTo>
                <a:lnTo>
                  <a:pt x="2525242" y="49536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9000">
                <a:srgbClr val="0C122B"/>
              </a:gs>
              <a:gs pos="100000">
                <a:srgbClr val="DC387C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495B2FBE-DA85-5A91-A46B-089E402B4D2A}"/>
              </a:ext>
            </a:extLst>
          </p:cNvPr>
          <p:cNvSpPr/>
          <p:nvPr userDrawn="1"/>
        </p:nvSpPr>
        <p:spPr>
          <a:xfrm rot="6527892">
            <a:off x="6058682" y="577486"/>
            <a:ext cx="5588974" cy="7839322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3647790"/>
              <a:gd name="connsiteY0" fmla="*/ 1476886 h 5365635"/>
              <a:gd name="connsiteX1" fmla="*/ 3647790 w 3647790"/>
              <a:gd name="connsiteY1" fmla="*/ 5 h 5365635"/>
              <a:gd name="connsiteX2" fmla="*/ 3639163 w 3647790"/>
              <a:gd name="connsiteY2" fmla="*/ 4408103 h 5365635"/>
              <a:gd name="connsiteX3" fmla="*/ 2310695 w 3647790"/>
              <a:gd name="connsiteY3" fmla="*/ 5365635 h 5365635"/>
              <a:gd name="connsiteX4" fmla="*/ 0 w 3647790"/>
              <a:gd name="connsiteY4" fmla="*/ 1476886 h 5365635"/>
              <a:gd name="connsiteX0" fmla="*/ 0 w 3639168"/>
              <a:gd name="connsiteY0" fmla="*/ 818248 h 4706997"/>
              <a:gd name="connsiteX1" fmla="*/ 2579116 w 3639168"/>
              <a:gd name="connsiteY1" fmla="*/ 8 h 4706997"/>
              <a:gd name="connsiteX2" fmla="*/ 3639163 w 3639168"/>
              <a:gd name="connsiteY2" fmla="*/ 3749465 h 4706997"/>
              <a:gd name="connsiteX3" fmla="*/ 2310695 w 3639168"/>
              <a:gd name="connsiteY3" fmla="*/ 4706997 h 4706997"/>
              <a:gd name="connsiteX4" fmla="*/ 0 w 3639168"/>
              <a:gd name="connsiteY4" fmla="*/ 818248 h 4706997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85906 h 4674655"/>
              <a:gd name="connsiteX1" fmla="*/ 2591107 w 3639168"/>
              <a:gd name="connsiteY1" fmla="*/ 0 h 4674655"/>
              <a:gd name="connsiteX2" fmla="*/ 3639163 w 3639168"/>
              <a:gd name="connsiteY2" fmla="*/ 3717123 h 4674655"/>
              <a:gd name="connsiteX3" fmla="*/ 2310695 w 3639168"/>
              <a:gd name="connsiteY3" fmla="*/ 4674655 h 4674655"/>
              <a:gd name="connsiteX4" fmla="*/ 0 w 3639168"/>
              <a:gd name="connsiteY4" fmla="*/ 785906 h 4674655"/>
              <a:gd name="connsiteX0" fmla="*/ 0 w 3639171"/>
              <a:gd name="connsiteY0" fmla="*/ 785906 h 4674655"/>
              <a:gd name="connsiteX1" fmla="*/ 2591107 w 3639171"/>
              <a:gd name="connsiteY1" fmla="*/ 0 h 4674655"/>
              <a:gd name="connsiteX2" fmla="*/ 3639163 w 3639171"/>
              <a:gd name="connsiteY2" fmla="*/ 3717123 h 4674655"/>
              <a:gd name="connsiteX3" fmla="*/ 2310695 w 3639171"/>
              <a:gd name="connsiteY3" fmla="*/ 4674655 h 4674655"/>
              <a:gd name="connsiteX4" fmla="*/ 0 w 3639171"/>
              <a:gd name="connsiteY4" fmla="*/ 785906 h 4674655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1"/>
              <a:gd name="connsiteY0" fmla="*/ 783704 h 4672453"/>
              <a:gd name="connsiteX1" fmla="*/ 2584062 w 3639171"/>
              <a:gd name="connsiteY1" fmla="*/ 0 h 4672453"/>
              <a:gd name="connsiteX2" fmla="*/ 3639163 w 3639171"/>
              <a:gd name="connsiteY2" fmla="*/ 3714921 h 4672453"/>
              <a:gd name="connsiteX3" fmla="*/ 2310695 w 3639171"/>
              <a:gd name="connsiteY3" fmla="*/ 4672453 h 4672453"/>
              <a:gd name="connsiteX4" fmla="*/ 0 w 3639171"/>
              <a:gd name="connsiteY4" fmla="*/ 783704 h 4672453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9171" h="4685387">
                <a:moveTo>
                  <a:pt x="0" y="796638"/>
                </a:moveTo>
                <a:cubicBezTo>
                  <a:pt x="1668536" y="295230"/>
                  <a:pt x="1265254" y="376208"/>
                  <a:pt x="2579266" y="0"/>
                </a:cubicBezTo>
                <a:cubicBezTo>
                  <a:pt x="2879644" y="1417913"/>
                  <a:pt x="3642039" y="2258489"/>
                  <a:pt x="3639163" y="3727855"/>
                </a:cubicBezTo>
                <a:lnTo>
                  <a:pt x="2310695" y="4685387"/>
                </a:lnTo>
                <a:lnTo>
                  <a:pt x="0" y="796638"/>
                </a:lnTo>
                <a:close/>
              </a:path>
            </a:pathLst>
          </a:custGeom>
          <a:gradFill>
            <a:gsLst>
              <a:gs pos="39000">
                <a:srgbClr val="0C122B">
                  <a:lumMod val="100000"/>
                  <a:alpha val="70368"/>
                </a:srgbClr>
              </a:gs>
              <a:gs pos="100000">
                <a:srgbClr val="58AED5"/>
              </a:gs>
            </a:gsLst>
            <a:lin ang="13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CE6B602D-1834-1199-FC06-DFC1A06199E8}"/>
              </a:ext>
            </a:extLst>
          </p:cNvPr>
          <p:cNvCxnSpPr>
            <a:cxnSpLocks/>
          </p:cNvCxnSpPr>
          <p:nvPr userDrawn="1"/>
        </p:nvCxnSpPr>
        <p:spPr>
          <a:xfrm>
            <a:off x="7684004" y="5752617"/>
            <a:ext cx="0" cy="785371"/>
          </a:xfrm>
          <a:prstGeom prst="line">
            <a:avLst/>
          </a:prstGeom>
          <a:ln w="3175">
            <a:solidFill>
              <a:srgbClr val="706F6F">
                <a:alpha val="40238"/>
              </a:srgb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>
            <a:extLst>
              <a:ext uri="{FF2B5EF4-FFF2-40B4-BE49-F238E27FC236}">
                <a16:creationId xmlns:a16="http://schemas.microsoft.com/office/drawing/2014/main" id="{145242E5-EC76-736A-7520-0D9BAF27301F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1155" t="16497" r="15034" b="16800"/>
          <a:stretch/>
        </p:blipFill>
        <p:spPr>
          <a:xfrm>
            <a:off x="8478607" y="409863"/>
            <a:ext cx="3037175" cy="1427242"/>
          </a:xfrm>
          <a:prstGeom prst="rect">
            <a:avLst/>
          </a:prstGeom>
        </p:spPr>
      </p:pic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FDD786D1-EA8F-18AF-C947-058C32712C66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95325" y="3323467"/>
            <a:ext cx="9360000" cy="1538113"/>
          </a:xfrm>
          <a:noFill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Aft>
                <a:spcPts val="1800"/>
              </a:spcAft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1800"/>
              </a:spcAft>
              <a:buNone/>
              <a:defRPr sz="16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Headline</a:t>
            </a:r>
          </a:p>
          <a:p>
            <a:pPr lvl="1"/>
            <a:r>
              <a:rPr lang="en-US" noProof="0" dirty="0"/>
              <a:t>Subheading</a:t>
            </a:r>
          </a:p>
          <a:p>
            <a:pPr lvl="2"/>
            <a:r>
              <a:rPr lang="en-US" noProof="0" dirty="0"/>
              <a:t>Title Name Surname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9B376E6-5EB9-ED31-4AAA-3F62EE622FFB}"/>
              </a:ext>
            </a:extLst>
          </p:cNvPr>
          <p:cNvGrpSpPr/>
          <p:nvPr userDrawn="1"/>
        </p:nvGrpSpPr>
        <p:grpSpPr>
          <a:xfrm>
            <a:off x="0" y="5430644"/>
            <a:ext cx="12192000" cy="1427356"/>
            <a:chOff x="0" y="5430644"/>
            <a:chExt cx="12192000" cy="1427356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3C679E71-92E7-BEFF-131A-ACA076FE28DC}"/>
                </a:ext>
              </a:extLst>
            </p:cNvPr>
            <p:cNvGrpSpPr/>
            <p:nvPr userDrawn="1"/>
          </p:nvGrpSpPr>
          <p:grpSpPr>
            <a:xfrm>
              <a:off x="0" y="5430644"/>
              <a:ext cx="12192000" cy="1427356"/>
              <a:chOff x="0" y="5430644"/>
              <a:chExt cx="12192000" cy="1427356"/>
            </a:xfrm>
          </p:grpSpPr>
          <p:sp>
            <p:nvSpPr>
              <p:cNvPr id="3" name="Rechteck 2">
                <a:extLst>
                  <a:ext uri="{FF2B5EF4-FFF2-40B4-BE49-F238E27FC236}">
                    <a16:creationId xmlns:a16="http://schemas.microsoft.com/office/drawing/2014/main" id="{048A8D31-A876-F461-0E9A-AE6175E4AEE3}"/>
                  </a:ext>
                </a:extLst>
              </p:cNvPr>
              <p:cNvSpPr/>
              <p:nvPr userDrawn="1"/>
            </p:nvSpPr>
            <p:spPr>
              <a:xfrm>
                <a:off x="0" y="5430644"/>
                <a:ext cx="12192000" cy="14273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b="0" i="0" dirty="0">
                  <a:latin typeface="Work Sans" pitchFamily="2" charset="77"/>
                </a:endParaRPr>
              </a:p>
            </p:txBody>
          </p:sp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AC6FB37F-BE40-480C-65D7-AEC9FAEF2DD7}"/>
                  </a:ext>
                </a:extLst>
              </p:cNvPr>
              <p:cNvSpPr txBox="1"/>
              <p:nvPr userDrawn="1"/>
            </p:nvSpPr>
            <p:spPr>
              <a:xfrm>
                <a:off x="731321" y="5692126"/>
                <a:ext cx="1357103" cy="246221"/>
              </a:xfrm>
              <a:prstGeom prst="rect">
                <a:avLst/>
              </a:prstGeom>
              <a:noFill/>
            </p:spPr>
            <p:txBody>
              <a:bodyPr wrap="none" lIns="0" rtlCol="0">
                <a:spAutoFit/>
              </a:bodyPr>
              <a:lstStyle/>
              <a:p>
                <a:pPr algn="l" fontAlgn="base"/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Work Sans" pitchFamily="2" charset="77"/>
                  </a:rPr>
                  <a:t>Partner </a:t>
                </a:r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+mn-lt"/>
                  </a:rPr>
                  <a:t>institutions</a:t>
                </a:r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Work Sans" pitchFamily="2" charset="77"/>
                  </a:rPr>
                  <a:t>:</a:t>
                </a:r>
              </a:p>
            </p:txBody>
          </p:sp>
          <p:grpSp>
            <p:nvGrpSpPr>
              <p:cNvPr id="6" name="Gruppieren 5">
                <a:extLst>
                  <a:ext uri="{FF2B5EF4-FFF2-40B4-BE49-F238E27FC236}">
                    <a16:creationId xmlns:a16="http://schemas.microsoft.com/office/drawing/2014/main" id="{1B9A0ED3-2CA1-2D33-57AB-56BCA2D9430C}"/>
                  </a:ext>
                </a:extLst>
              </p:cNvPr>
              <p:cNvGrpSpPr/>
              <p:nvPr userDrawn="1"/>
            </p:nvGrpSpPr>
            <p:grpSpPr>
              <a:xfrm>
                <a:off x="731322" y="6029988"/>
                <a:ext cx="6427081" cy="433766"/>
                <a:chOff x="731322" y="6031158"/>
                <a:chExt cx="7216569" cy="487049"/>
              </a:xfrm>
            </p:grpSpPr>
            <p:pic>
              <p:nvPicPr>
                <p:cNvPr id="10" name="Grafik 9">
                  <a:extLst>
                    <a:ext uri="{FF2B5EF4-FFF2-40B4-BE49-F238E27FC236}">
                      <a16:creationId xmlns:a16="http://schemas.microsoft.com/office/drawing/2014/main" id="{6D257E94-D538-EE80-2760-78D15670DC0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31322" y="6135085"/>
                  <a:ext cx="1423713" cy="261184"/>
                </a:xfrm>
                <a:prstGeom prst="rect">
                  <a:avLst/>
                </a:prstGeom>
              </p:spPr>
            </p:pic>
            <p:pic>
              <p:nvPicPr>
                <p:cNvPr id="12" name="Grafik 11">
                  <a:extLst>
                    <a:ext uri="{FF2B5EF4-FFF2-40B4-BE49-F238E27FC236}">
                      <a16:creationId xmlns:a16="http://schemas.microsoft.com/office/drawing/2014/main" id="{2DF5C42F-244B-08CD-4F1D-C5B1AF56273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08503" y="6052045"/>
                  <a:ext cx="1593623" cy="466162"/>
                </a:xfrm>
                <a:prstGeom prst="rect">
                  <a:avLst/>
                </a:prstGeom>
              </p:spPr>
            </p:pic>
            <p:pic>
              <p:nvPicPr>
                <p:cNvPr id="14" name="Grafik 13">
                  <a:extLst>
                    <a:ext uri="{FF2B5EF4-FFF2-40B4-BE49-F238E27FC236}">
                      <a16:creationId xmlns:a16="http://schemas.microsoft.com/office/drawing/2014/main" id="{FC219FFA-21DC-3C7C-EAD5-8D539C87933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23982" y="6047977"/>
                  <a:ext cx="1523909" cy="435402"/>
                </a:xfrm>
                <a:prstGeom prst="rect">
                  <a:avLst/>
                </a:prstGeom>
              </p:spPr>
            </p:pic>
            <p:pic>
              <p:nvPicPr>
                <p:cNvPr id="16" name="Grafik 15">
                  <a:extLst>
                    <a:ext uri="{FF2B5EF4-FFF2-40B4-BE49-F238E27FC236}">
                      <a16:creationId xmlns:a16="http://schemas.microsoft.com/office/drawing/2014/main" id="{1B93B73F-D9A0-081E-FAC7-A7C7EEC6A34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37681" y="6031158"/>
                  <a:ext cx="1099348" cy="461016"/>
                </a:xfrm>
                <a:prstGeom prst="rect">
                  <a:avLst/>
                </a:prstGeom>
              </p:spPr>
            </p:pic>
          </p:grpSp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FF50D5AA-41A2-9894-7F5B-85ABE6D41954}"/>
                  </a:ext>
                </a:extLst>
              </p:cNvPr>
              <p:cNvSpPr txBox="1"/>
              <p:nvPr userDrawn="1"/>
            </p:nvSpPr>
            <p:spPr>
              <a:xfrm>
                <a:off x="8176924" y="5692126"/>
                <a:ext cx="1684115" cy="246221"/>
              </a:xfrm>
              <a:prstGeom prst="rect">
                <a:avLst/>
              </a:prstGeom>
              <a:noFill/>
            </p:spPr>
            <p:txBody>
              <a:bodyPr wrap="none" lIns="0" rtlCol="0">
                <a:spAutoFit/>
              </a:bodyPr>
              <a:lstStyle/>
              <a:p>
                <a:pPr algn="l" fontAlgn="base"/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+mn-lt"/>
                  </a:rPr>
                  <a:t>Institutionally</a:t>
                </a:r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Work Sans" pitchFamily="2" charset="77"/>
                  </a:rPr>
                  <a:t> funded by:</a:t>
                </a:r>
              </a:p>
            </p:txBody>
          </p:sp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A604B93E-C49E-F2A1-8312-DB27D88A5E4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 t="30047"/>
              <a:stretch/>
            </p:blipFill>
            <p:spPr>
              <a:xfrm>
                <a:off x="9665184" y="6001246"/>
                <a:ext cx="2127796" cy="481767"/>
              </a:xfrm>
              <a:prstGeom prst="rect">
                <a:avLst/>
              </a:prstGeom>
            </p:spPr>
          </p:pic>
          <p:pic>
            <p:nvPicPr>
              <p:cNvPr id="5" name="Grafik 4">
                <a:extLst>
                  <a:ext uri="{FF2B5EF4-FFF2-40B4-BE49-F238E27FC236}">
                    <a16:creationId xmlns:a16="http://schemas.microsoft.com/office/drawing/2014/main" id="{B8645CB5-158B-FB2E-7D7B-A03D30F21C1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 r="12490"/>
              <a:stretch/>
            </p:blipFill>
            <p:spPr>
              <a:xfrm>
                <a:off x="8008316" y="5871131"/>
                <a:ext cx="1269095" cy="897762"/>
              </a:xfrm>
              <a:prstGeom prst="rect">
                <a:avLst/>
              </a:prstGeom>
            </p:spPr>
          </p:pic>
        </p:grpSp>
        <p:cxnSp>
          <p:nvCxnSpPr>
            <p:cNvPr id="2" name="Gerade Verbindung 17">
              <a:extLst>
                <a:ext uri="{FF2B5EF4-FFF2-40B4-BE49-F238E27FC236}">
                  <a16:creationId xmlns:a16="http://schemas.microsoft.com/office/drawing/2014/main" id="{7217529D-03C6-0160-AE7B-081A54AB9A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36404" y="5769447"/>
              <a:ext cx="0" cy="785371"/>
            </a:xfrm>
            <a:prstGeom prst="line">
              <a:avLst/>
            </a:prstGeom>
            <a:ln w="3175">
              <a:solidFill>
                <a:srgbClr val="706F6F">
                  <a:alpha val="40238"/>
                </a:srgb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49338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" userDrawn="1">
          <p15:clr>
            <a:srgbClr val="FBAE40"/>
          </p15:clr>
        </p15:guide>
        <p15:guide id="2" pos="7242" userDrawn="1">
          <p15:clr>
            <a:srgbClr val="FBAE40"/>
          </p15:clr>
        </p15:guide>
        <p15:guide id="3" orient="horz" pos="306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ihandform 20">
            <a:extLst>
              <a:ext uri="{FF2B5EF4-FFF2-40B4-BE49-F238E27FC236}">
                <a16:creationId xmlns:a16="http://schemas.microsoft.com/office/drawing/2014/main" id="{C5FE2E1F-BA4B-910C-42AB-316297CD9C27}"/>
              </a:ext>
            </a:extLst>
          </p:cNvPr>
          <p:cNvSpPr/>
          <p:nvPr userDrawn="1"/>
        </p:nvSpPr>
        <p:spPr>
          <a:xfrm rot="15744484">
            <a:off x="992685" y="-1588652"/>
            <a:ext cx="3521947" cy="6002043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4528868"/>
              <a:gd name="connsiteY0" fmla="*/ 0 h 4944912"/>
              <a:gd name="connsiteX1" fmla="*/ 4528868 w 4528868"/>
              <a:gd name="connsiteY1" fmla="*/ 8626 h 4944912"/>
              <a:gd name="connsiteX2" fmla="*/ 4520241 w 4528868"/>
              <a:gd name="connsiteY2" fmla="*/ 4416724 h 4944912"/>
              <a:gd name="connsiteX3" fmla="*/ 2453788 w 4528868"/>
              <a:gd name="connsiteY3" fmla="*/ 4944912 h 4944912"/>
              <a:gd name="connsiteX4" fmla="*/ 0 w 4528868"/>
              <a:gd name="connsiteY4" fmla="*/ 0 h 4944912"/>
              <a:gd name="connsiteX0" fmla="*/ 0 w 4528868"/>
              <a:gd name="connsiteY0" fmla="*/ 0 h 4949837"/>
              <a:gd name="connsiteX1" fmla="*/ 4528868 w 4528868"/>
              <a:gd name="connsiteY1" fmla="*/ 8626 h 4949837"/>
              <a:gd name="connsiteX2" fmla="*/ 2411228 w 4528868"/>
              <a:gd name="connsiteY2" fmla="*/ 4949837 h 4949837"/>
              <a:gd name="connsiteX3" fmla="*/ 2453788 w 4528868"/>
              <a:gd name="connsiteY3" fmla="*/ 4944912 h 4949837"/>
              <a:gd name="connsiteX4" fmla="*/ 0 w 4528868"/>
              <a:gd name="connsiteY4" fmla="*/ 0 h 4949837"/>
              <a:gd name="connsiteX0" fmla="*/ 0 w 3196124"/>
              <a:gd name="connsiteY0" fmla="*/ 0 h 4949837"/>
              <a:gd name="connsiteX1" fmla="*/ 3196124 w 3196124"/>
              <a:gd name="connsiteY1" fmla="*/ 495434 h 4949837"/>
              <a:gd name="connsiteX2" fmla="*/ 2411228 w 3196124"/>
              <a:gd name="connsiteY2" fmla="*/ 4949837 h 4949837"/>
              <a:gd name="connsiteX3" fmla="*/ 2453788 w 3196124"/>
              <a:gd name="connsiteY3" fmla="*/ 4944912 h 4949837"/>
              <a:gd name="connsiteX4" fmla="*/ 0 w 3196124"/>
              <a:gd name="connsiteY4" fmla="*/ 0 h 4949837"/>
              <a:gd name="connsiteX0" fmla="*/ 0 w 2556957"/>
              <a:gd name="connsiteY0" fmla="*/ 0 h 4949837"/>
              <a:gd name="connsiteX1" fmla="*/ 2556957 w 2556957"/>
              <a:gd name="connsiteY1" fmla="*/ 445491 h 4949837"/>
              <a:gd name="connsiteX2" fmla="*/ 2411228 w 2556957"/>
              <a:gd name="connsiteY2" fmla="*/ 4949837 h 4949837"/>
              <a:gd name="connsiteX3" fmla="*/ 2453788 w 2556957"/>
              <a:gd name="connsiteY3" fmla="*/ 4944912 h 4949837"/>
              <a:gd name="connsiteX4" fmla="*/ 0 w 2556957"/>
              <a:gd name="connsiteY4" fmla="*/ 0 h 4949837"/>
              <a:gd name="connsiteX0" fmla="*/ 0 w 3079177"/>
              <a:gd name="connsiteY0" fmla="*/ 0 h 4949837"/>
              <a:gd name="connsiteX1" fmla="*/ 3079177 w 3079177"/>
              <a:gd name="connsiteY1" fmla="*/ 452872 h 4949837"/>
              <a:gd name="connsiteX2" fmla="*/ 2411228 w 3079177"/>
              <a:gd name="connsiteY2" fmla="*/ 4949837 h 4949837"/>
              <a:gd name="connsiteX3" fmla="*/ 2453788 w 3079177"/>
              <a:gd name="connsiteY3" fmla="*/ 4944912 h 4949837"/>
              <a:gd name="connsiteX4" fmla="*/ 0 w 3079177"/>
              <a:gd name="connsiteY4" fmla="*/ 0 h 4949837"/>
              <a:gd name="connsiteX0" fmla="*/ 0 w 3079177"/>
              <a:gd name="connsiteY0" fmla="*/ 0 h 4983024"/>
              <a:gd name="connsiteX1" fmla="*/ 3079177 w 3079177"/>
              <a:gd name="connsiteY1" fmla="*/ 452872 h 4983024"/>
              <a:gd name="connsiteX2" fmla="*/ 2411228 w 3079177"/>
              <a:gd name="connsiteY2" fmla="*/ 4949837 h 4983024"/>
              <a:gd name="connsiteX3" fmla="*/ 2219699 w 3079177"/>
              <a:gd name="connsiteY3" fmla="*/ 4983024 h 4983024"/>
              <a:gd name="connsiteX4" fmla="*/ 0 w 3079177"/>
              <a:gd name="connsiteY4" fmla="*/ 0 h 4983024"/>
              <a:gd name="connsiteX0" fmla="*/ 0 w 3079177"/>
              <a:gd name="connsiteY0" fmla="*/ 0 h 5425792"/>
              <a:gd name="connsiteX1" fmla="*/ 3079177 w 3079177"/>
              <a:gd name="connsiteY1" fmla="*/ 452872 h 5425792"/>
              <a:gd name="connsiteX2" fmla="*/ 2716116 w 3079177"/>
              <a:gd name="connsiteY2" fmla="*/ 5425792 h 5425792"/>
              <a:gd name="connsiteX3" fmla="*/ 2219699 w 3079177"/>
              <a:gd name="connsiteY3" fmla="*/ 4983024 h 5425792"/>
              <a:gd name="connsiteX4" fmla="*/ 0 w 3079177"/>
              <a:gd name="connsiteY4" fmla="*/ 0 h 5425792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117286"/>
              <a:gd name="connsiteY0" fmla="*/ 0 h 5042904"/>
              <a:gd name="connsiteX1" fmla="*/ 3117286 w 3117286"/>
              <a:gd name="connsiteY1" fmla="*/ 476607 h 5042904"/>
              <a:gd name="connsiteX2" fmla="*/ 2470436 w 3117286"/>
              <a:gd name="connsiteY2" fmla="*/ 5042904 h 5042904"/>
              <a:gd name="connsiteX3" fmla="*/ 2219699 w 3117286"/>
              <a:gd name="connsiteY3" fmla="*/ 4983024 h 5042904"/>
              <a:gd name="connsiteX4" fmla="*/ 0 w 3117286"/>
              <a:gd name="connsiteY4" fmla="*/ 0 h 5042904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525242 w 3170361"/>
              <a:gd name="connsiteY3" fmla="*/ 4953653 h 4963573"/>
              <a:gd name="connsiteX4" fmla="*/ 0 w 3170361"/>
              <a:gd name="connsiteY4" fmla="*/ 0 h 4963573"/>
              <a:gd name="connsiteX0" fmla="*/ 0 w 3173082"/>
              <a:gd name="connsiteY0" fmla="*/ 0 h 4963573"/>
              <a:gd name="connsiteX1" fmla="*/ 3173082 w 3173082"/>
              <a:gd name="connsiteY1" fmla="*/ 378537 h 4963573"/>
              <a:gd name="connsiteX2" fmla="*/ 2523511 w 3173082"/>
              <a:gd name="connsiteY2" fmla="*/ 4963573 h 4963573"/>
              <a:gd name="connsiteX3" fmla="*/ 2525242 w 3173082"/>
              <a:gd name="connsiteY3" fmla="*/ 4953653 h 4963573"/>
              <a:gd name="connsiteX4" fmla="*/ 0 w 3173082"/>
              <a:gd name="connsiteY4" fmla="*/ 0 h 496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73082" h="4963573">
                <a:moveTo>
                  <a:pt x="0" y="0"/>
                </a:moveTo>
                <a:lnTo>
                  <a:pt x="3173082" y="378537"/>
                </a:lnTo>
                <a:cubicBezTo>
                  <a:pt x="2987832" y="1816056"/>
                  <a:pt x="2718969" y="3527305"/>
                  <a:pt x="2523511" y="4963573"/>
                </a:cubicBezTo>
                <a:lnTo>
                  <a:pt x="2525242" y="49536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9000">
                <a:srgbClr val="0C122B"/>
              </a:gs>
              <a:gs pos="100000">
                <a:srgbClr val="DC387C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495B2FBE-DA85-5A91-A46B-089E402B4D2A}"/>
              </a:ext>
            </a:extLst>
          </p:cNvPr>
          <p:cNvSpPr/>
          <p:nvPr userDrawn="1"/>
        </p:nvSpPr>
        <p:spPr>
          <a:xfrm rot="6527892">
            <a:off x="6058682" y="577486"/>
            <a:ext cx="5588974" cy="7839322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3647790"/>
              <a:gd name="connsiteY0" fmla="*/ 1476886 h 5365635"/>
              <a:gd name="connsiteX1" fmla="*/ 3647790 w 3647790"/>
              <a:gd name="connsiteY1" fmla="*/ 5 h 5365635"/>
              <a:gd name="connsiteX2" fmla="*/ 3639163 w 3647790"/>
              <a:gd name="connsiteY2" fmla="*/ 4408103 h 5365635"/>
              <a:gd name="connsiteX3" fmla="*/ 2310695 w 3647790"/>
              <a:gd name="connsiteY3" fmla="*/ 5365635 h 5365635"/>
              <a:gd name="connsiteX4" fmla="*/ 0 w 3647790"/>
              <a:gd name="connsiteY4" fmla="*/ 1476886 h 5365635"/>
              <a:gd name="connsiteX0" fmla="*/ 0 w 3639168"/>
              <a:gd name="connsiteY0" fmla="*/ 818248 h 4706997"/>
              <a:gd name="connsiteX1" fmla="*/ 2579116 w 3639168"/>
              <a:gd name="connsiteY1" fmla="*/ 8 h 4706997"/>
              <a:gd name="connsiteX2" fmla="*/ 3639163 w 3639168"/>
              <a:gd name="connsiteY2" fmla="*/ 3749465 h 4706997"/>
              <a:gd name="connsiteX3" fmla="*/ 2310695 w 3639168"/>
              <a:gd name="connsiteY3" fmla="*/ 4706997 h 4706997"/>
              <a:gd name="connsiteX4" fmla="*/ 0 w 3639168"/>
              <a:gd name="connsiteY4" fmla="*/ 818248 h 4706997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85906 h 4674655"/>
              <a:gd name="connsiteX1" fmla="*/ 2591107 w 3639168"/>
              <a:gd name="connsiteY1" fmla="*/ 0 h 4674655"/>
              <a:gd name="connsiteX2" fmla="*/ 3639163 w 3639168"/>
              <a:gd name="connsiteY2" fmla="*/ 3717123 h 4674655"/>
              <a:gd name="connsiteX3" fmla="*/ 2310695 w 3639168"/>
              <a:gd name="connsiteY3" fmla="*/ 4674655 h 4674655"/>
              <a:gd name="connsiteX4" fmla="*/ 0 w 3639168"/>
              <a:gd name="connsiteY4" fmla="*/ 785906 h 4674655"/>
              <a:gd name="connsiteX0" fmla="*/ 0 w 3639171"/>
              <a:gd name="connsiteY0" fmla="*/ 785906 h 4674655"/>
              <a:gd name="connsiteX1" fmla="*/ 2591107 w 3639171"/>
              <a:gd name="connsiteY1" fmla="*/ 0 h 4674655"/>
              <a:gd name="connsiteX2" fmla="*/ 3639163 w 3639171"/>
              <a:gd name="connsiteY2" fmla="*/ 3717123 h 4674655"/>
              <a:gd name="connsiteX3" fmla="*/ 2310695 w 3639171"/>
              <a:gd name="connsiteY3" fmla="*/ 4674655 h 4674655"/>
              <a:gd name="connsiteX4" fmla="*/ 0 w 3639171"/>
              <a:gd name="connsiteY4" fmla="*/ 785906 h 4674655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1"/>
              <a:gd name="connsiteY0" fmla="*/ 783704 h 4672453"/>
              <a:gd name="connsiteX1" fmla="*/ 2584062 w 3639171"/>
              <a:gd name="connsiteY1" fmla="*/ 0 h 4672453"/>
              <a:gd name="connsiteX2" fmla="*/ 3639163 w 3639171"/>
              <a:gd name="connsiteY2" fmla="*/ 3714921 h 4672453"/>
              <a:gd name="connsiteX3" fmla="*/ 2310695 w 3639171"/>
              <a:gd name="connsiteY3" fmla="*/ 4672453 h 4672453"/>
              <a:gd name="connsiteX4" fmla="*/ 0 w 3639171"/>
              <a:gd name="connsiteY4" fmla="*/ 783704 h 4672453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9171" h="4685387">
                <a:moveTo>
                  <a:pt x="0" y="796638"/>
                </a:moveTo>
                <a:cubicBezTo>
                  <a:pt x="1668536" y="295230"/>
                  <a:pt x="1265254" y="376208"/>
                  <a:pt x="2579266" y="0"/>
                </a:cubicBezTo>
                <a:cubicBezTo>
                  <a:pt x="2879644" y="1417913"/>
                  <a:pt x="3642039" y="2258489"/>
                  <a:pt x="3639163" y="3727855"/>
                </a:cubicBezTo>
                <a:lnTo>
                  <a:pt x="2310695" y="4685387"/>
                </a:lnTo>
                <a:lnTo>
                  <a:pt x="0" y="796638"/>
                </a:lnTo>
                <a:close/>
              </a:path>
            </a:pathLst>
          </a:custGeom>
          <a:gradFill>
            <a:gsLst>
              <a:gs pos="39000">
                <a:srgbClr val="0C122B">
                  <a:lumMod val="100000"/>
                  <a:alpha val="70368"/>
                </a:srgbClr>
              </a:gs>
              <a:gs pos="100000">
                <a:srgbClr val="58AED5"/>
              </a:gs>
            </a:gsLst>
            <a:lin ang="13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Grafik 22">
            <a:extLst>
              <a:ext uri="{FF2B5EF4-FFF2-40B4-BE49-F238E27FC236}">
                <a16:creationId xmlns:a16="http://schemas.microsoft.com/office/drawing/2014/main" id="{145242E5-EC76-736A-7520-0D9BAF27301F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1155" t="16497" r="15034" b="16800"/>
          <a:stretch/>
        </p:blipFill>
        <p:spPr>
          <a:xfrm>
            <a:off x="8478607" y="409863"/>
            <a:ext cx="3037175" cy="1427242"/>
          </a:xfrm>
          <a:prstGeom prst="rect">
            <a:avLst/>
          </a:prstGeom>
        </p:spPr>
      </p:pic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FDD786D1-EA8F-18AF-C947-058C32712C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3570308"/>
            <a:ext cx="9360000" cy="1104470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100000"/>
              </a:lnSpc>
              <a:spcAft>
                <a:spcPts val="1800"/>
              </a:spcAft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spcBef>
                <a:spcPts val="0"/>
              </a:spcBef>
              <a:spcAft>
                <a:spcPts val="0"/>
              </a:spcAft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spcBef>
                <a:spcPts val="0"/>
              </a:spcBef>
              <a:spcAft>
                <a:spcPts val="0"/>
              </a:spcAft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spcBef>
                <a:spcPts val="0"/>
              </a:spcBef>
              <a:spcAft>
                <a:spcPts val="0"/>
              </a:spcAft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dirty="0"/>
              <a:t>Headline</a:t>
            </a:r>
          </a:p>
          <a:p>
            <a:pPr lvl="1"/>
            <a:r>
              <a:rPr lang="en-US" noProof="0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66964128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38" userDrawn="1">
          <p15:clr>
            <a:srgbClr val="FBAE40"/>
          </p15:clr>
        </p15:guide>
        <p15:guide id="2" pos="724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 20">
            <a:extLst>
              <a:ext uri="{FF2B5EF4-FFF2-40B4-BE49-F238E27FC236}">
                <a16:creationId xmlns:a16="http://schemas.microsoft.com/office/drawing/2014/main" id="{3BFF459D-6264-F368-76F6-384368768B3E}"/>
              </a:ext>
            </a:extLst>
          </p:cNvPr>
          <p:cNvSpPr/>
          <p:nvPr userDrawn="1"/>
        </p:nvSpPr>
        <p:spPr>
          <a:xfrm rot="15744484">
            <a:off x="992685" y="-1588652"/>
            <a:ext cx="3521947" cy="6002043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4528868"/>
              <a:gd name="connsiteY0" fmla="*/ 0 h 4944912"/>
              <a:gd name="connsiteX1" fmla="*/ 4528868 w 4528868"/>
              <a:gd name="connsiteY1" fmla="*/ 8626 h 4944912"/>
              <a:gd name="connsiteX2" fmla="*/ 4520241 w 4528868"/>
              <a:gd name="connsiteY2" fmla="*/ 4416724 h 4944912"/>
              <a:gd name="connsiteX3" fmla="*/ 2453788 w 4528868"/>
              <a:gd name="connsiteY3" fmla="*/ 4944912 h 4944912"/>
              <a:gd name="connsiteX4" fmla="*/ 0 w 4528868"/>
              <a:gd name="connsiteY4" fmla="*/ 0 h 4944912"/>
              <a:gd name="connsiteX0" fmla="*/ 0 w 4528868"/>
              <a:gd name="connsiteY0" fmla="*/ 0 h 4949837"/>
              <a:gd name="connsiteX1" fmla="*/ 4528868 w 4528868"/>
              <a:gd name="connsiteY1" fmla="*/ 8626 h 4949837"/>
              <a:gd name="connsiteX2" fmla="*/ 2411228 w 4528868"/>
              <a:gd name="connsiteY2" fmla="*/ 4949837 h 4949837"/>
              <a:gd name="connsiteX3" fmla="*/ 2453788 w 4528868"/>
              <a:gd name="connsiteY3" fmla="*/ 4944912 h 4949837"/>
              <a:gd name="connsiteX4" fmla="*/ 0 w 4528868"/>
              <a:gd name="connsiteY4" fmla="*/ 0 h 4949837"/>
              <a:gd name="connsiteX0" fmla="*/ 0 w 3196124"/>
              <a:gd name="connsiteY0" fmla="*/ 0 h 4949837"/>
              <a:gd name="connsiteX1" fmla="*/ 3196124 w 3196124"/>
              <a:gd name="connsiteY1" fmla="*/ 495434 h 4949837"/>
              <a:gd name="connsiteX2" fmla="*/ 2411228 w 3196124"/>
              <a:gd name="connsiteY2" fmla="*/ 4949837 h 4949837"/>
              <a:gd name="connsiteX3" fmla="*/ 2453788 w 3196124"/>
              <a:gd name="connsiteY3" fmla="*/ 4944912 h 4949837"/>
              <a:gd name="connsiteX4" fmla="*/ 0 w 3196124"/>
              <a:gd name="connsiteY4" fmla="*/ 0 h 4949837"/>
              <a:gd name="connsiteX0" fmla="*/ 0 w 2556957"/>
              <a:gd name="connsiteY0" fmla="*/ 0 h 4949837"/>
              <a:gd name="connsiteX1" fmla="*/ 2556957 w 2556957"/>
              <a:gd name="connsiteY1" fmla="*/ 445491 h 4949837"/>
              <a:gd name="connsiteX2" fmla="*/ 2411228 w 2556957"/>
              <a:gd name="connsiteY2" fmla="*/ 4949837 h 4949837"/>
              <a:gd name="connsiteX3" fmla="*/ 2453788 w 2556957"/>
              <a:gd name="connsiteY3" fmla="*/ 4944912 h 4949837"/>
              <a:gd name="connsiteX4" fmla="*/ 0 w 2556957"/>
              <a:gd name="connsiteY4" fmla="*/ 0 h 4949837"/>
              <a:gd name="connsiteX0" fmla="*/ 0 w 3079177"/>
              <a:gd name="connsiteY0" fmla="*/ 0 h 4949837"/>
              <a:gd name="connsiteX1" fmla="*/ 3079177 w 3079177"/>
              <a:gd name="connsiteY1" fmla="*/ 452872 h 4949837"/>
              <a:gd name="connsiteX2" fmla="*/ 2411228 w 3079177"/>
              <a:gd name="connsiteY2" fmla="*/ 4949837 h 4949837"/>
              <a:gd name="connsiteX3" fmla="*/ 2453788 w 3079177"/>
              <a:gd name="connsiteY3" fmla="*/ 4944912 h 4949837"/>
              <a:gd name="connsiteX4" fmla="*/ 0 w 3079177"/>
              <a:gd name="connsiteY4" fmla="*/ 0 h 4949837"/>
              <a:gd name="connsiteX0" fmla="*/ 0 w 3079177"/>
              <a:gd name="connsiteY0" fmla="*/ 0 h 4983024"/>
              <a:gd name="connsiteX1" fmla="*/ 3079177 w 3079177"/>
              <a:gd name="connsiteY1" fmla="*/ 452872 h 4983024"/>
              <a:gd name="connsiteX2" fmla="*/ 2411228 w 3079177"/>
              <a:gd name="connsiteY2" fmla="*/ 4949837 h 4983024"/>
              <a:gd name="connsiteX3" fmla="*/ 2219699 w 3079177"/>
              <a:gd name="connsiteY3" fmla="*/ 4983024 h 4983024"/>
              <a:gd name="connsiteX4" fmla="*/ 0 w 3079177"/>
              <a:gd name="connsiteY4" fmla="*/ 0 h 4983024"/>
              <a:gd name="connsiteX0" fmla="*/ 0 w 3079177"/>
              <a:gd name="connsiteY0" fmla="*/ 0 h 5425792"/>
              <a:gd name="connsiteX1" fmla="*/ 3079177 w 3079177"/>
              <a:gd name="connsiteY1" fmla="*/ 452872 h 5425792"/>
              <a:gd name="connsiteX2" fmla="*/ 2716116 w 3079177"/>
              <a:gd name="connsiteY2" fmla="*/ 5425792 h 5425792"/>
              <a:gd name="connsiteX3" fmla="*/ 2219699 w 3079177"/>
              <a:gd name="connsiteY3" fmla="*/ 4983024 h 5425792"/>
              <a:gd name="connsiteX4" fmla="*/ 0 w 3079177"/>
              <a:gd name="connsiteY4" fmla="*/ 0 h 5425792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117286"/>
              <a:gd name="connsiteY0" fmla="*/ 0 h 5042904"/>
              <a:gd name="connsiteX1" fmla="*/ 3117286 w 3117286"/>
              <a:gd name="connsiteY1" fmla="*/ 476607 h 5042904"/>
              <a:gd name="connsiteX2" fmla="*/ 2470436 w 3117286"/>
              <a:gd name="connsiteY2" fmla="*/ 5042904 h 5042904"/>
              <a:gd name="connsiteX3" fmla="*/ 2219699 w 3117286"/>
              <a:gd name="connsiteY3" fmla="*/ 4983024 h 5042904"/>
              <a:gd name="connsiteX4" fmla="*/ 0 w 3117286"/>
              <a:gd name="connsiteY4" fmla="*/ 0 h 5042904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525242 w 3170361"/>
              <a:gd name="connsiteY3" fmla="*/ 4953653 h 4963573"/>
              <a:gd name="connsiteX4" fmla="*/ 0 w 3170361"/>
              <a:gd name="connsiteY4" fmla="*/ 0 h 4963573"/>
              <a:gd name="connsiteX0" fmla="*/ 0 w 3173082"/>
              <a:gd name="connsiteY0" fmla="*/ 0 h 4963573"/>
              <a:gd name="connsiteX1" fmla="*/ 3173082 w 3173082"/>
              <a:gd name="connsiteY1" fmla="*/ 378537 h 4963573"/>
              <a:gd name="connsiteX2" fmla="*/ 2523511 w 3173082"/>
              <a:gd name="connsiteY2" fmla="*/ 4963573 h 4963573"/>
              <a:gd name="connsiteX3" fmla="*/ 2525242 w 3173082"/>
              <a:gd name="connsiteY3" fmla="*/ 4953653 h 4963573"/>
              <a:gd name="connsiteX4" fmla="*/ 0 w 3173082"/>
              <a:gd name="connsiteY4" fmla="*/ 0 h 496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73082" h="4963573">
                <a:moveTo>
                  <a:pt x="0" y="0"/>
                </a:moveTo>
                <a:lnTo>
                  <a:pt x="3173082" y="378537"/>
                </a:lnTo>
                <a:cubicBezTo>
                  <a:pt x="2987832" y="1816056"/>
                  <a:pt x="2718969" y="3527305"/>
                  <a:pt x="2523511" y="4963573"/>
                </a:cubicBezTo>
                <a:lnTo>
                  <a:pt x="2525242" y="49536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9000">
                <a:srgbClr val="0C122B"/>
              </a:gs>
              <a:gs pos="100000">
                <a:srgbClr val="DC387C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495B2FBE-DA85-5A91-A46B-089E402B4D2A}"/>
              </a:ext>
            </a:extLst>
          </p:cNvPr>
          <p:cNvSpPr/>
          <p:nvPr userDrawn="1"/>
        </p:nvSpPr>
        <p:spPr>
          <a:xfrm rot="6527892">
            <a:off x="6058682" y="577486"/>
            <a:ext cx="5588974" cy="7839322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3647790"/>
              <a:gd name="connsiteY0" fmla="*/ 1476886 h 5365635"/>
              <a:gd name="connsiteX1" fmla="*/ 3647790 w 3647790"/>
              <a:gd name="connsiteY1" fmla="*/ 5 h 5365635"/>
              <a:gd name="connsiteX2" fmla="*/ 3639163 w 3647790"/>
              <a:gd name="connsiteY2" fmla="*/ 4408103 h 5365635"/>
              <a:gd name="connsiteX3" fmla="*/ 2310695 w 3647790"/>
              <a:gd name="connsiteY3" fmla="*/ 5365635 h 5365635"/>
              <a:gd name="connsiteX4" fmla="*/ 0 w 3647790"/>
              <a:gd name="connsiteY4" fmla="*/ 1476886 h 5365635"/>
              <a:gd name="connsiteX0" fmla="*/ 0 w 3639168"/>
              <a:gd name="connsiteY0" fmla="*/ 818248 h 4706997"/>
              <a:gd name="connsiteX1" fmla="*/ 2579116 w 3639168"/>
              <a:gd name="connsiteY1" fmla="*/ 8 h 4706997"/>
              <a:gd name="connsiteX2" fmla="*/ 3639163 w 3639168"/>
              <a:gd name="connsiteY2" fmla="*/ 3749465 h 4706997"/>
              <a:gd name="connsiteX3" fmla="*/ 2310695 w 3639168"/>
              <a:gd name="connsiteY3" fmla="*/ 4706997 h 4706997"/>
              <a:gd name="connsiteX4" fmla="*/ 0 w 3639168"/>
              <a:gd name="connsiteY4" fmla="*/ 818248 h 4706997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85906 h 4674655"/>
              <a:gd name="connsiteX1" fmla="*/ 2591107 w 3639168"/>
              <a:gd name="connsiteY1" fmla="*/ 0 h 4674655"/>
              <a:gd name="connsiteX2" fmla="*/ 3639163 w 3639168"/>
              <a:gd name="connsiteY2" fmla="*/ 3717123 h 4674655"/>
              <a:gd name="connsiteX3" fmla="*/ 2310695 w 3639168"/>
              <a:gd name="connsiteY3" fmla="*/ 4674655 h 4674655"/>
              <a:gd name="connsiteX4" fmla="*/ 0 w 3639168"/>
              <a:gd name="connsiteY4" fmla="*/ 785906 h 4674655"/>
              <a:gd name="connsiteX0" fmla="*/ 0 w 3639171"/>
              <a:gd name="connsiteY0" fmla="*/ 785906 h 4674655"/>
              <a:gd name="connsiteX1" fmla="*/ 2591107 w 3639171"/>
              <a:gd name="connsiteY1" fmla="*/ 0 h 4674655"/>
              <a:gd name="connsiteX2" fmla="*/ 3639163 w 3639171"/>
              <a:gd name="connsiteY2" fmla="*/ 3717123 h 4674655"/>
              <a:gd name="connsiteX3" fmla="*/ 2310695 w 3639171"/>
              <a:gd name="connsiteY3" fmla="*/ 4674655 h 4674655"/>
              <a:gd name="connsiteX4" fmla="*/ 0 w 3639171"/>
              <a:gd name="connsiteY4" fmla="*/ 785906 h 4674655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1"/>
              <a:gd name="connsiteY0" fmla="*/ 783704 h 4672453"/>
              <a:gd name="connsiteX1" fmla="*/ 2584062 w 3639171"/>
              <a:gd name="connsiteY1" fmla="*/ 0 h 4672453"/>
              <a:gd name="connsiteX2" fmla="*/ 3639163 w 3639171"/>
              <a:gd name="connsiteY2" fmla="*/ 3714921 h 4672453"/>
              <a:gd name="connsiteX3" fmla="*/ 2310695 w 3639171"/>
              <a:gd name="connsiteY3" fmla="*/ 4672453 h 4672453"/>
              <a:gd name="connsiteX4" fmla="*/ 0 w 3639171"/>
              <a:gd name="connsiteY4" fmla="*/ 783704 h 4672453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9171" h="4685387">
                <a:moveTo>
                  <a:pt x="0" y="796638"/>
                </a:moveTo>
                <a:cubicBezTo>
                  <a:pt x="1668536" y="295230"/>
                  <a:pt x="1265254" y="376208"/>
                  <a:pt x="2579266" y="0"/>
                </a:cubicBezTo>
                <a:cubicBezTo>
                  <a:pt x="2879644" y="1417913"/>
                  <a:pt x="3642039" y="2258489"/>
                  <a:pt x="3639163" y="3727855"/>
                </a:cubicBezTo>
                <a:lnTo>
                  <a:pt x="2310695" y="4685387"/>
                </a:lnTo>
                <a:lnTo>
                  <a:pt x="0" y="796638"/>
                </a:lnTo>
                <a:close/>
              </a:path>
            </a:pathLst>
          </a:custGeom>
          <a:gradFill>
            <a:gsLst>
              <a:gs pos="39000">
                <a:srgbClr val="0C122B">
                  <a:lumMod val="100000"/>
                  <a:alpha val="70368"/>
                </a:srgbClr>
              </a:gs>
              <a:gs pos="100000">
                <a:srgbClr val="58AED5"/>
              </a:gs>
            </a:gsLst>
            <a:lin ang="13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5F9BC208-4EF3-3EE4-E3F7-6202718C95DB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59385" y="486410"/>
            <a:ext cx="663350" cy="957047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AB08381-F591-F9A4-6A59-3E73A49ABC1F}"/>
              </a:ext>
            </a:extLst>
          </p:cNvPr>
          <p:cNvSpPr txBox="1"/>
          <p:nvPr userDrawn="1"/>
        </p:nvSpPr>
        <p:spPr>
          <a:xfrm>
            <a:off x="694481" y="671332"/>
            <a:ext cx="879676" cy="25557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2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5000" dirty="0">
                <a:solidFill>
                  <a:schemeClr val="bg1"/>
                </a:solidFill>
              </a:rPr>
              <a:t>“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82F8C472-E83F-298A-AFA2-ED91C2FC1B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01801" y="1949450"/>
            <a:ext cx="8374600" cy="3683868"/>
          </a:xfrm>
        </p:spPr>
        <p:txBody>
          <a:bodyPr/>
          <a:lstStyle>
            <a:lvl1pPr marL="0" indent="0">
              <a:lnSpc>
                <a:spcPct val="12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266700" indent="0" algn="r">
              <a:buNone/>
              <a:defRPr>
                <a:solidFill>
                  <a:schemeClr val="bg1"/>
                </a:solidFill>
              </a:defRPr>
            </a:lvl3pPr>
            <a:lvl4pPr marL="446088" indent="0">
              <a:buNone/>
              <a:defRPr>
                <a:solidFill>
                  <a:schemeClr val="bg1"/>
                </a:solidFill>
              </a:defRPr>
            </a:lvl4pPr>
            <a:lvl5pPr marL="62706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noProof="0" dirty="0"/>
              <a:t>Quote, Work Sans </a:t>
            </a:r>
            <a:r>
              <a:rPr lang="en-US" noProof="0" dirty="0" err="1"/>
              <a:t>Semibold</a:t>
            </a:r>
            <a:r>
              <a:rPr lang="en-US" noProof="0" dirty="0"/>
              <a:t> 32pt or 24pt</a:t>
            </a:r>
          </a:p>
          <a:p>
            <a:pPr lvl="2"/>
            <a:r>
              <a:rPr lang="en-US" noProof="0" dirty="0"/>
              <a:t>Title Name Surname </a:t>
            </a:r>
            <a:br>
              <a:rPr lang="en-US" noProof="0" dirty="0"/>
            </a:br>
            <a:r>
              <a:rPr lang="en-US" noProof="0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2919221877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ground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extplatzhalter 14">
            <a:extLst>
              <a:ext uri="{FF2B5EF4-FFF2-40B4-BE49-F238E27FC236}">
                <a16:creationId xmlns:a16="http://schemas.microsoft.com/office/drawing/2014/main" id="{B87D6786-6699-8DB9-2901-ECEB3ECC89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731016"/>
            <a:ext cx="5916612" cy="2253859"/>
          </a:xfrm>
          <a:solidFill>
            <a:schemeClr val="tx1"/>
          </a:solidFill>
        </p:spPr>
        <p:txBody>
          <a:bodyPr lIns="486000" tIns="360000" rIns="360000" bIns="360000" anchor="b" anchorCtr="0">
            <a:sp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DE" sz="1600" b="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5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Work Sans" pitchFamily="2" charset="77"/>
              </a:defRPr>
            </a:lvl3pPr>
            <a:lvl4pPr marL="0" indent="0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600" b="0" i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None/>
              <a:defRPr lang="de-DE" sz="1600" b="0" i="0" kern="1200" noProof="0" dirty="0" err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>
              <a:lnSpc>
                <a:spcPct val="150000"/>
              </a:lnSpc>
              <a:buNone/>
              <a:defRPr lang="de-DE" sz="1600" b="0" i="0" kern="1200" noProof="0" dirty="0" err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lnSpc>
                <a:spcPct val="150000"/>
              </a:lnSpc>
              <a:defRPr lang="de-DE" sz="1600" b="0" i="0" kern="1200" noProof="0" dirty="0" err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lnSpc>
                <a:spcPct val="150000"/>
              </a:lnSpc>
              <a:spcAft>
                <a:spcPts val="0"/>
              </a:spcAft>
              <a:defRPr lang="de-DE" sz="1600" b="0" i="0" kern="1200" noProof="0" dirty="0" err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lnSpc>
                <a:spcPct val="150000"/>
              </a:lnSpc>
              <a:spcAft>
                <a:spcPts val="0"/>
              </a:spcAft>
              <a:defRPr lang="de-DE" sz="1600" b="0" i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dirty="0"/>
              <a:t>Headline Work sans </a:t>
            </a:r>
            <a:r>
              <a:rPr lang="en-US" noProof="0" dirty="0" err="1"/>
              <a:t>Semibold</a:t>
            </a:r>
            <a:r>
              <a:rPr lang="en-US" noProof="0" dirty="0"/>
              <a:t>, 32 pt</a:t>
            </a:r>
          </a:p>
          <a:p>
            <a:pPr lvl="1"/>
            <a:r>
              <a:rPr lang="en-US" noProof="0" dirty="0"/>
              <a:t>Subheading Work sans, 16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B78DD6C-46BD-EF9F-489B-CBFA6D984C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9643547" y="4309549"/>
            <a:ext cx="4824412" cy="272492"/>
          </a:xfrm>
        </p:spPr>
        <p:txBody>
          <a:bodyPr lIns="72000" tIns="72000" rIns="72000" bIns="72000">
            <a:spAutoFit/>
          </a:bodyPr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© Image source</a:t>
            </a:r>
          </a:p>
        </p:txBody>
      </p:sp>
    </p:spTree>
    <p:extLst>
      <p:ext uri="{BB962C8B-B14F-4D97-AF65-F5344CB8AC3E}">
        <p14:creationId xmlns:p14="http://schemas.microsoft.com/office/powerpoint/2010/main" val="38248148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F707338A-2D40-6171-3DA7-35EC26F39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250"/>
            <a:ext cx="10080000" cy="38119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Work sans </a:t>
            </a:r>
            <a:r>
              <a:rPr lang="en-US" noProof="0" dirty="0" err="1"/>
              <a:t>Semibold</a:t>
            </a:r>
            <a:r>
              <a:rPr lang="en-US" noProof="0" dirty="0"/>
              <a:t>, 24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49F8D04-7881-5752-5D06-F73C704C2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65FE082-5449-7D63-4076-EF818E159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284925-861E-200E-E06E-D83E6447C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18" name="Text01">
            <a:extLst>
              <a:ext uri="{FF2B5EF4-FFF2-40B4-BE49-F238E27FC236}">
                <a16:creationId xmlns:a16="http://schemas.microsoft.com/office/drawing/2014/main" id="{F67E47C1-F74D-3528-5D7F-2E33FF5D72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2060575"/>
            <a:ext cx="11235600" cy="3924300"/>
          </a:xfrm>
        </p:spPr>
        <p:txBody>
          <a:bodyPr/>
          <a:lstStyle>
            <a:lvl1pPr>
              <a:defRPr/>
            </a:lvl1pPr>
            <a:lvl6pPr>
              <a:spcAft>
                <a:spcPts val="600"/>
              </a:spcAft>
              <a:defRPr/>
            </a:lvl6pPr>
            <a:lvl7pPr>
              <a:spcAft>
                <a:spcPts val="600"/>
              </a:spcAft>
              <a:defRPr/>
            </a:lvl7pPr>
            <a:lvl8pPr>
              <a:spcAft>
                <a:spcPts val="600"/>
              </a:spcAft>
              <a:defRPr/>
            </a:lvl8pPr>
            <a:lvl9pPr>
              <a:spcAft>
                <a:spcPts val="600"/>
              </a:spcAft>
              <a:defRPr/>
            </a:lvl9pPr>
          </a:lstStyle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9" name="Subheadline">
            <a:extLst>
              <a:ext uri="{FF2B5EF4-FFF2-40B4-BE49-F238E27FC236}">
                <a16:creationId xmlns:a16="http://schemas.microsoft.com/office/drawing/2014/main" id="{905C3019-F97F-5CDC-B7E9-2AE69F464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1124619"/>
            <a:ext cx="10080000" cy="656205"/>
          </a:xfrm>
        </p:spPr>
        <p:txBody>
          <a:bodyPr lIns="0" tIns="0" rIns="0" bIns="0" anchor="b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de-DE" sz="2000" i="0" smtClean="0">
                <a:latin typeface="+mn-lt"/>
              </a:defRPr>
            </a:lvl1pPr>
            <a:lvl2pPr>
              <a:defRPr lang="de-DE" sz="1600" smtClean="0">
                <a:latin typeface="+mn-lt"/>
              </a:defRPr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r>
              <a:rPr lang="en-US" dirty="0"/>
              <a:t>Subheading Work sans, 20pt, one or two lines. If the main headline has only one line, insert a line break at the subheading’s end to reduce the distance.</a:t>
            </a:r>
          </a:p>
        </p:txBody>
      </p:sp>
    </p:spTree>
    <p:extLst>
      <p:ext uri="{BB962C8B-B14F-4D97-AF65-F5344CB8AC3E}">
        <p14:creationId xmlns:p14="http://schemas.microsoft.com/office/powerpoint/2010/main" val="18211443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F707338A-2D40-6171-3DA7-35EC26F39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250"/>
            <a:ext cx="10080000" cy="381195"/>
          </a:xfrm>
        </p:spPr>
        <p:txBody>
          <a:bodyPr/>
          <a:lstStyle/>
          <a:p>
            <a:r>
              <a:rPr lang="en-US" noProof="0" dirty="0"/>
              <a:t>Headline Work sans </a:t>
            </a:r>
            <a:r>
              <a:rPr lang="en-US" noProof="0" dirty="0" err="1"/>
              <a:t>Semibold</a:t>
            </a:r>
            <a:r>
              <a:rPr lang="en-US" noProof="0" dirty="0"/>
              <a:t>, 24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49F8D04-7881-5752-5D06-F73C704C2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65FE082-5449-7D63-4076-EF818E159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284925-861E-200E-E06E-D83E6447C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13" name="Text01">
            <a:extLst>
              <a:ext uri="{FF2B5EF4-FFF2-40B4-BE49-F238E27FC236}">
                <a16:creationId xmlns:a16="http://schemas.microsoft.com/office/drawing/2014/main" id="{63EC7C52-D495-0D20-1165-EB05CD9F8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2060575"/>
            <a:ext cx="5437188" cy="3924300"/>
          </a:xfrm>
        </p:spPr>
        <p:txBody>
          <a:bodyPr/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4" name="Text02">
            <a:extLst>
              <a:ext uri="{FF2B5EF4-FFF2-40B4-BE49-F238E27FC236}">
                <a16:creationId xmlns:a16="http://schemas.microsoft.com/office/drawing/2014/main" id="{3E2EEF9F-214D-B27B-2324-A996813C5C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7836" y="2060575"/>
            <a:ext cx="5437188" cy="3924300"/>
          </a:xfrm>
        </p:spPr>
        <p:txBody>
          <a:bodyPr/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6" name="Subheadline">
            <a:extLst>
              <a:ext uri="{FF2B5EF4-FFF2-40B4-BE49-F238E27FC236}">
                <a16:creationId xmlns:a16="http://schemas.microsoft.com/office/drawing/2014/main" id="{CB34027F-F4FA-A745-2583-B7969017F9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1124619"/>
            <a:ext cx="10080000" cy="656205"/>
          </a:xfrm>
        </p:spPr>
        <p:txBody>
          <a:bodyPr lIns="0" tIns="0" rIns="0" bIns="0" anchor="b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de-DE" sz="2000" i="0" smtClean="0">
                <a:latin typeface="+mn-lt"/>
              </a:defRPr>
            </a:lvl1pPr>
            <a:lvl2pPr>
              <a:defRPr lang="de-DE" sz="1600" smtClean="0">
                <a:latin typeface="+mn-lt"/>
              </a:defRPr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r>
              <a:rPr lang="en-US" dirty="0"/>
              <a:t>Subheading Work sans, 20pt, one or two lines. If the main headline has only one line, insert a line break at the subheading’s end to reduce the distance.</a:t>
            </a:r>
          </a:p>
        </p:txBody>
      </p:sp>
    </p:spTree>
    <p:extLst>
      <p:ext uri="{BB962C8B-B14F-4D97-AF65-F5344CB8AC3E}">
        <p14:creationId xmlns:p14="http://schemas.microsoft.com/office/powerpoint/2010/main" val="1481820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05393DDB-9067-3D28-A3F3-B1C5568854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250"/>
            <a:ext cx="10080000" cy="381195"/>
          </a:xfrm>
        </p:spPr>
        <p:txBody>
          <a:bodyPr/>
          <a:lstStyle/>
          <a:p>
            <a:r>
              <a:rPr lang="en-US" noProof="0" dirty="0"/>
              <a:t>Headline Work sans </a:t>
            </a:r>
            <a:r>
              <a:rPr lang="en-US" noProof="0" dirty="0" err="1"/>
              <a:t>Semibold</a:t>
            </a:r>
            <a:r>
              <a:rPr lang="en-US" noProof="0" dirty="0"/>
              <a:t>, 24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AA73205-4F30-D41A-AB54-952172D16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DF031F-73E2-6D2D-9850-9B190FAA9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EEB4C7-9E59-8F6E-87B1-47C472C87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15" name="Subheadline">
            <a:extLst>
              <a:ext uri="{FF2B5EF4-FFF2-40B4-BE49-F238E27FC236}">
                <a16:creationId xmlns:a16="http://schemas.microsoft.com/office/drawing/2014/main" id="{AF95AB73-343B-FE28-12B2-0B6C9FC152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1124619"/>
            <a:ext cx="10080000" cy="656205"/>
          </a:xfrm>
        </p:spPr>
        <p:txBody>
          <a:bodyPr lIns="0" tIns="0" rIns="0" bIns="0" anchor="b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de-DE" sz="2000" i="0" smtClean="0">
                <a:latin typeface="+mn-lt"/>
              </a:defRPr>
            </a:lvl1pPr>
            <a:lvl2pPr>
              <a:defRPr lang="de-DE" sz="1600" smtClean="0">
                <a:latin typeface="+mn-lt"/>
              </a:defRPr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r>
              <a:rPr lang="en-US" dirty="0"/>
              <a:t>Subheading Work sans, 20pt, one or two lines. If the main headline has only one line, insert a line break at the subheading’s end to reduce the distance.</a:t>
            </a:r>
          </a:p>
        </p:txBody>
      </p:sp>
      <p:sp>
        <p:nvSpPr>
          <p:cNvPr id="16" name="Text01">
            <a:extLst>
              <a:ext uri="{FF2B5EF4-FFF2-40B4-BE49-F238E27FC236}">
                <a16:creationId xmlns:a16="http://schemas.microsoft.com/office/drawing/2014/main" id="{B8B58184-DDA2-4347-E26D-1A8A35543C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2060575"/>
            <a:ext cx="3492500" cy="3924300"/>
          </a:xfrm>
        </p:spPr>
        <p:txBody>
          <a:bodyPr/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7" name="Text02">
            <a:extLst>
              <a:ext uri="{FF2B5EF4-FFF2-40B4-BE49-F238E27FC236}">
                <a16:creationId xmlns:a16="http://schemas.microsoft.com/office/drawing/2014/main" id="{DD2D307A-1F69-E1DC-C8F1-C928F66EFC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9750" y="2060575"/>
            <a:ext cx="3492500" cy="3924300"/>
          </a:xfrm>
        </p:spPr>
        <p:txBody>
          <a:bodyPr/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8" name="Text03">
            <a:extLst>
              <a:ext uri="{FF2B5EF4-FFF2-40B4-BE49-F238E27FC236}">
                <a16:creationId xmlns:a16="http://schemas.microsoft.com/office/drawing/2014/main" id="{425529F8-465B-DAD6-7AB8-9AA9CE2298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22524" y="2060575"/>
            <a:ext cx="3492500" cy="3924300"/>
          </a:xfrm>
        </p:spPr>
        <p:txBody>
          <a:bodyPr/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</p:spTree>
    <p:extLst>
      <p:ext uri="{BB962C8B-B14F-4D97-AF65-F5344CB8AC3E}">
        <p14:creationId xmlns:p14="http://schemas.microsoft.com/office/powerpoint/2010/main" val="2945082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5178" userDrawn="1">
          <p15:clr>
            <a:srgbClr val="FBAE40"/>
          </p15:clr>
        </p15:guide>
        <p15:guide id="4" pos="495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headline">
            <a:extLst>
              <a:ext uri="{FF2B5EF4-FFF2-40B4-BE49-F238E27FC236}">
                <a16:creationId xmlns:a16="http://schemas.microsoft.com/office/drawing/2014/main" id="{D8079DFA-FB03-12DB-9B0E-D2F6DD32B7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1124619"/>
            <a:ext cx="10080000" cy="656205"/>
          </a:xfrm>
        </p:spPr>
        <p:txBody>
          <a:bodyPr lIns="0" tIns="0" rIns="0" bIns="0" anchor="b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de-DE" sz="2000" i="0" smtClean="0">
                <a:latin typeface="+mn-lt"/>
              </a:defRPr>
            </a:lvl1pPr>
            <a:lvl2pPr>
              <a:defRPr lang="de-DE" sz="1600" smtClean="0">
                <a:latin typeface="+mn-lt"/>
              </a:defRPr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r>
              <a:rPr lang="en-US" dirty="0"/>
              <a:t>Subheading Work sans, 20pt, one or two lines. If the main headline has only one line, insert a line break at the subheading’s end to reduce the distance.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707338A-2D40-6171-3DA7-35EC26F39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250"/>
            <a:ext cx="10080000" cy="381195"/>
          </a:xfrm>
        </p:spPr>
        <p:txBody>
          <a:bodyPr/>
          <a:lstStyle/>
          <a:p>
            <a:r>
              <a:rPr lang="en-US" noProof="0" dirty="0"/>
              <a:t>Headline Work sans </a:t>
            </a:r>
            <a:r>
              <a:rPr lang="en-US" noProof="0" dirty="0" err="1"/>
              <a:t>Semibold</a:t>
            </a:r>
            <a:r>
              <a:rPr lang="en-US" noProof="0" dirty="0"/>
              <a:t>, 24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49F8D04-7881-5752-5D06-F73C704C2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65FE082-5449-7D63-4076-EF818E159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284925-861E-200E-E06E-D83E6447C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13" name="Text01">
            <a:extLst>
              <a:ext uri="{FF2B5EF4-FFF2-40B4-BE49-F238E27FC236}">
                <a16:creationId xmlns:a16="http://schemas.microsoft.com/office/drawing/2014/main" id="{35BF3EF5-DD68-5F52-2417-34FF553391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2060575"/>
            <a:ext cx="2538000" cy="39243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4" name="Text02">
            <a:extLst>
              <a:ext uri="{FF2B5EF4-FFF2-40B4-BE49-F238E27FC236}">
                <a16:creationId xmlns:a16="http://schemas.microsoft.com/office/drawing/2014/main" id="{62C5C028-E056-AEF1-18CE-9AC7EB5C4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77808" y="2060575"/>
            <a:ext cx="2538000" cy="39243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6" name="Text03">
            <a:extLst>
              <a:ext uri="{FF2B5EF4-FFF2-40B4-BE49-F238E27FC236}">
                <a16:creationId xmlns:a16="http://schemas.microsoft.com/office/drawing/2014/main" id="{2B548DE3-8427-6E36-5930-8D05F7966E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6191" y="2060575"/>
            <a:ext cx="2538000" cy="39243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7" name="Text04">
            <a:extLst>
              <a:ext uri="{FF2B5EF4-FFF2-40B4-BE49-F238E27FC236}">
                <a16:creationId xmlns:a16="http://schemas.microsoft.com/office/drawing/2014/main" id="{9BE7B451-C3FA-6C43-9490-C503359B80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74575" y="2060575"/>
            <a:ext cx="2538000" cy="39243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</p:spTree>
    <p:extLst>
      <p:ext uri="{BB962C8B-B14F-4D97-AF65-F5344CB8AC3E}">
        <p14:creationId xmlns:p14="http://schemas.microsoft.com/office/powerpoint/2010/main" val="2992874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  <p15:guide id="3" pos="1900" userDrawn="1">
          <p15:clr>
            <a:srgbClr val="FBAE40"/>
          </p15:clr>
        </p15:guide>
        <p15:guide id="4" pos="2127" userDrawn="1">
          <p15:clr>
            <a:srgbClr val="FBAE40"/>
          </p15:clr>
        </p15:guide>
        <p15:guide id="5" pos="5780" userDrawn="1">
          <p15:clr>
            <a:srgbClr val="FBAE40"/>
          </p15:clr>
        </p15:guide>
        <p15:guide id="6" pos="555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ihandform 20">
            <a:extLst>
              <a:ext uri="{FF2B5EF4-FFF2-40B4-BE49-F238E27FC236}">
                <a16:creationId xmlns:a16="http://schemas.microsoft.com/office/drawing/2014/main" id="{C5FE2E1F-BA4B-910C-42AB-316297CD9C27}"/>
              </a:ext>
            </a:extLst>
          </p:cNvPr>
          <p:cNvSpPr/>
          <p:nvPr userDrawn="1"/>
        </p:nvSpPr>
        <p:spPr>
          <a:xfrm rot="15744484">
            <a:off x="992685" y="-1588652"/>
            <a:ext cx="3521947" cy="6002043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4528868"/>
              <a:gd name="connsiteY0" fmla="*/ 0 h 4944912"/>
              <a:gd name="connsiteX1" fmla="*/ 4528868 w 4528868"/>
              <a:gd name="connsiteY1" fmla="*/ 8626 h 4944912"/>
              <a:gd name="connsiteX2" fmla="*/ 4520241 w 4528868"/>
              <a:gd name="connsiteY2" fmla="*/ 4416724 h 4944912"/>
              <a:gd name="connsiteX3" fmla="*/ 2453788 w 4528868"/>
              <a:gd name="connsiteY3" fmla="*/ 4944912 h 4944912"/>
              <a:gd name="connsiteX4" fmla="*/ 0 w 4528868"/>
              <a:gd name="connsiteY4" fmla="*/ 0 h 4944912"/>
              <a:gd name="connsiteX0" fmla="*/ 0 w 4528868"/>
              <a:gd name="connsiteY0" fmla="*/ 0 h 4949837"/>
              <a:gd name="connsiteX1" fmla="*/ 4528868 w 4528868"/>
              <a:gd name="connsiteY1" fmla="*/ 8626 h 4949837"/>
              <a:gd name="connsiteX2" fmla="*/ 2411228 w 4528868"/>
              <a:gd name="connsiteY2" fmla="*/ 4949837 h 4949837"/>
              <a:gd name="connsiteX3" fmla="*/ 2453788 w 4528868"/>
              <a:gd name="connsiteY3" fmla="*/ 4944912 h 4949837"/>
              <a:gd name="connsiteX4" fmla="*/ 0 w 4528868"/>
              <a:gd name="connsiteY4" fmla="*/ 0 h 4949837"/>
              <a:gd name="connsiteX0" fmla="*/ 0 w 3196124"/>
              <a:gd name="connsiteY0" fmla="*/ 0 h 4949837"/>
              <a:gd name="connsiteX1" fmla="*/ 3196124 w 3196124"/>
              <a:gd name="connsiteY1" fmla="*/ 495434 h 4949837"/>
              <a:gd name="connsiteX2" fmla="*/ 2411228 w 3196124"/>
              <a:gd name="connsiteY2" fmla="*/ 4949837 h 4949837"/>
              <a:gd name="connsiteX3" fmla="*/ 2453788 w 3196124"/>
              <a:gd name="connsiteY3" fmla="*/ 4944912 h 4949837"/>
              <a:gd name="connsiteX4" fmla="*/ 0 w 3196124"/>
              <a:gd name="connsiteY4" fmla="*/ 0 h 4949837"/>
              <a:gd name="connsiteX0" fmla="*/ 0 w 2556957"/>
              <a:gd name="connsiteY0" fmla="*/ 0 h 4949837"/>
              <a:gd name="connsiteX1" fmla="*/ 2556957 w 2556957"/>
              <a:gd name="connsiteY1" fmla="*/ 445491 h 4949837"/>
              <a:gd name="connsiteX2" fmla="*/ 2411228 w 2556957"/>
              <a:gd name="connsiteY2" fmla="*/ 4949837 h 4949837"/>
              <a:gd name="connsiteX3" fmla="*/ 2453788 w 2556957"/>
              <a:gd name="connsiteY3" fmla="*/ 4944912 h 4949837"/>
              <a:gd name="connsiteX4" fmla="*/ 0 w 2556957"/>
              <a:gd name="connsiteY4" fmla="*/ 0 h 4949837"/>
              <a:gd name="connsiteX0" fmla="*/ 0 w 3079177"/>
              <a:gd name="connsiteY0" fmla="*/ 0 h 4949837"/>
              <a:gd name="connsiteX1" fmla="*/ 3079177 w 3079177"/>
              <a:gd name="connsiteY1" fmla="*/ 452872 h 4949837"/>
              <a:gd name="connsiteX2" fmla="*/ 2411228 w 3079177"/>
              <a:gd name="connsiteY2" fmla="*/ 4949837 h 4949837"/>
              <a:gd name="connsiteX3" fmla="*/ 2453788 w 3079177"/>
              <a:gd name="connsiteY3" fmla="*/ 4944912 h 4949837"/>
              <a:gd name="connsiteX4" fmla="*/ 0 w 3079177"/>
              <a:gd name="connsiteY4" fmla="*/ 0 h 4949837"/>
              <a:gd name="connsiteX0" fmla="*/ 0 w 3079177"/>
              <a:gd name="connsiteY0" fmla="*/ 0 h 4983024"/>
              <a:gd name="connsiteX1" fmla="*/ 3079177 w 3079177"/>
              <a:gd name="connsiteY1" fmla="*/ 452872 h 4983024"/>
              <a:gd name="connsiteX2" fmla="*/ 2411228 w 3079177"/>
              <a:gd name="connsiteY2" fmla="*/ 4949837 h 4983024"/>
              <a:gd name="connsiteX3" fmla="*/ 2219699 w 3079177"/>
              <a:gd name="connsiteY3" fmla="*/ 4983024 h 4983024"/>
              <a:gd name="connsiteX4" fmla="*/ 0 w 3079177"/>
              <a:gd name="connsiteY4" fmla="*/ 0 h 4983024"/>
              <a:gd name="connsiteX0" fmla="*/ 0 w 3079177"/>
              <a:gd name="connsiteY0" fmla="*/ 0 h 5425792"/>
              <a:gd name="connsiteX1" fmla="*/ 3079177 w 3079177"/>
              <a:gd name="connsiteY1" fmla="*/ 452872 h 5425792"/>
              <a:gd name="connsiteX2" fmla="*/ 2716116 w 3079177"/>
              <a:gd name="connsiteY2" fmla="*/ 5425792 h 5425792"/>
              <a:gd name="connsiteX3" fmla="*/ 2219699 w 3079177"/>
              <a:gd name="connsiteY3" fmla="*/ 4983024 h 5425792"/>
              <a:gd name="connsiteX4" fmla="*/ 0 w 3079177"/>
              <a:gd name="connsiteY4" fmla="*/ 0 h 5425792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117286"/>
              <a:gd name="connsiteY0" fmla="*/ 0 h 5042904"/>
              <a:gd name="connsiteX1" fmla="*/ 3117286 w 3117286"/>
              <a:gd name="connsiteY1" fmla="*/ 476607 h 5042904"/>
              <a:gd name="connsiteX2" fmla="*/ 2470436 w 3117286"/>
              <a:gd name="connsiteY2" fmla="*/ 5042904 h 5042904"/>
              <a:gd name="connsiteX3" fmla="*/ 2219699 w 3117286"/>
              <a:gd name="connsiteY3" fmla="*/ 4983024 h 5042904"/>
              <a:gd name="connsiteX4" fmla="*/ 0 w 3117286"/>
              <a:gd name="connsiteY4" fmla="*/ 0 h 5042904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525242 w 3170361"/>
              <a:gd name="connsiteY3" fmla="*/ 4953653 h 4963573"/>
              <a:gd name="connsiteX4" fmla="*/ 0 w 3170361"/>
              <a:gd name="connsiteY4" fmla="*/ 0 h 4963573"/>
              <a:gd name="connsiteX0" fmla="*/ 0 w 3173082"/>
              <a:gd name="connsiteY0" fmla="*/ 0 h 4963573"/>
              <a:gd name="connsiteX1" fmla="*/ 3173082 w 3173082"/>
              <a:gd name="connsiteY1" fmla="*/ 378537 h 4963573"/>
              <a:gd name="connsiteX2" fmla="*/ 2523511 w 3173082"/>
              <a:gd name="connsiteY2" fmla="*/ 4963573 h 4963573"/>
              <a:gd name="connsiteX3" fmla="*/ 2525242 w 3173082"/>
              <a:gd name="connsiteY3" fmla="*/ 4953653 h 4963573"/>
              <a:gd name="connsiteX4" fmla="*/ 0 w 3173082"/>
              <a:gd name="connsiteY4" fmla="*/ 0 h 496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73082" h="4963573">
                <a:moveTo>
                  <a:pt x="0" y="0"/>
                </a:moveTo>
                <a:lnTo>
                  <a:pt x="3173082" y="378537"/>
                </a:lnTo>
                <a:cubicBezTo>
                  <a:pt x="2987832" y="1816056"/>
                  <a:pt x="2718969" y="3527305"/>
                  <a:pt x="2523511" y="4963573"/>
                </a:cubicBezTo>
                <a:lnTo>
                  <a:pt x="2525242" y="49536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9000">
                <a:srgbClr val="0C122B"/>
              </a:gs>
              <a:gs pos="100000">
                <a:srgbClr val="DC387C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495B2FBE-DA85-5A91-A46B-089E402B4D2A}"/>
              </a:ext>
            </a:extLst>
          </p:cNvPr>
          <p:cNvSpPr/>
          <p:nvPr userDrawn="1"/>
        </p:nvSpPr>
        <p:spPr>
          <a:xfrm rot="6527892">
            <a:off x="6058682" y="577486"/>
            <a:ext cx="5588974" cy="7839322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3647790"/>
              <a:gd name="connsiteY0" fmla="*/ 1476886 h 5365635"/>
              <a:gd name="connsiteX1" fmla="*/ 3647790 w 3647790"/>
              <a:gd name="connsiteY1" fmla="*/ 5 h 5365635"/>
              <a:gd name="connsiteX2" fmla="*/ 3639163 w 3647790"/>
              <a:gd name="connsiteY2" fmla="*/ 4408103 h 5365635"/>
              <a:gd name="connsiteX3" fmla="*/ 2310695 w 3647790"/>
              <a:gd name="connsiteY3" fmla="*/ 5365635 h 5365635"/>
              <a:gd name="connsiteX4" fmla="*/ 0 w 3647790"/>
              <a:gd name="connsiteY4" fmla="*/ 1476886 h 5365635"/>
              <a:gd name="connsiteX0" fmla="*/ 0 w 3639168"/>
              <a:gd name="connsiteY0" fmla="*/ 818248 h 4706997"/>
              <a:gd name="connsiteX1" fmla="*/ 2579116 w 3639168"/>
              <a:gd name="connsiteY1" fmla="*/ 8 h 4706997"/>
              <a:gd name="connsiteX2" fmla="*/ 3639163 w 3639168"/>
              <a:gd name="connsiteY2" fmla="*/ 3749465 h 4706997"/>
              <a:gd name="connsiteX3" fmla="*/ 2310695 w 3639168"/>
              <a:gd name="connsiteY3" fmla="*/ 4706997 h 4706997"/>
              <a:gd name="connsiteX4" fmla="*/ 0 w 3639168"/>
              <a:gd name="connsiteY4" fmla="*/ 818248 h 4706997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85906 h 4674655"/>
              <a:gd name="connsiteX1" fmla="*/ 2591107 w 3639168"/>
              <a:gd name="connsiteY1" fmla="*/ 0 h 4674655"/>
              <a:gd name="connsiteX2" fmla="*/ 3639163 w 3639168"/>
              <a:gd name="connsiteY2" fmla="*/ 3717123 h 4674655"/>
              <a:gd name="connsiteX3" fmla="*/ 2310695 w 3639168"/>
              <a:gd name="connsiteY3" fmla="*/ 4674655 h 4674655"/>
              <a:gd name="connsiteX4" fmla="*/ 0 w 3639168"/>
              <a:gd name="connsiteY4" fmla="*/ 785906 h 4674655"/>
              <a:gd name="connsiteX0" fmla="*/ 0 w 3639171"/>
              <a:gd name="connsiteY0" fmla="*/ 785906 h 4674655"/>
              <a:gd name="connsiteX1" fmla="*/ 2591107 w 3639171"/>
              <a:gd name="connsiteY1" fmla="*/ 0 h 4674655"/>
              <a:gd name="connsiteX2" fmla="*/ 3639163 w 3639171"/>
              <a:gd name="connsiteY2" fmla="*/ 3717123 h 4674655"/>
              <a:gd name="connsiteX3" fmla="*/ 2310695 w 3639171"/>
              <a:gd name="connsiteY3" fmla="*/ 4674655 h 4674655"/>
              <a:gd name="connsiteX4" fmla="*/ 0 w 3639171"/>
              <a:gd name="connsiteY4" fmla="*/ 785906 h 4674655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1"/>
              <a:gd name="connsiteY0" fmla="*/ 783704 h 4672453"/>
              <a:gd name="connsiteX1" fmla="*/ 2584062 w 3639171"/>
              <a:gd name="connsiteY1" fmla="*/ 0 h 4672453"/>
              <a:gd name="connsiteX2" fmla="*/ 3639163 w 3639171"/>
              <a:gd name="connsiteY2" fmla="*/ 3714921 h 4672453"/>
              <a:gd name="connsiteX3" fmla="*/ 2310695 w 3639171"/>
              <a:gd name="connsiteY3" fmla="*/ 4672453 h 4672453"/>
              <a:gd name="connsiteX4" fmla="*/ 0 w 3639171"/>
              <a:gd name="connsiteY4" fmla="*/ 783704 h 4672453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9171" h="4685387">
                <a:moveTo>
                  <a:pt x="0" y="796638"/>
                </a:moveTo>
                <a:cubicBezTo>
                  <a:pt x="1668536" y="295230"/>
                  <a:pt x="1265254" y="376208"/>
                  <a:pt x="2579266" y="0"/>
                </a:cubicBezTo>
                <a:cubicBezTo>
                  <a:pt x="2879644" y="1417913"/>
                  <a:pt x="3642039" y="2258489"/>
                  <a:pt x="3639163" y="3727855"/>
                </a:cubicBezTo>
                <a:lnTo>
                  <a:pt x="2310695" y="4685387"/>
                </a:lnTo>
                <a:lnTo>
                  <a:pt x="0" y="796638"/>
                </a:lnTo>
                <a:close/>
              </a:path>
            </a:pathLst>
          </a:custGeom>
          <a:gradFill>
            <a:gsLst>
              <a:gs pos="39000">
                <a:srgbClr val="0C122B">
                  <a:lumMod val="100000"/>
                  <a:alpha val="70368"/>
                </a:srgbClr>
              </a:gs>
              <a:gs pos="100000">
                <a:srgbClr val="58AED5"/>
              </a:gs>
            </a:gsLst>
            <a:lin ang="13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Grafik 22">
            <a:extLst>
              <a:ext uri="{FF2B5EF4-FFF2-40B4-BE49-F238E27FC236}">
                <a16:creationId xmlns:a16="http://schemas.microsoft.com/office/drawing/2014/main" id="{145242E5-EC76-736A-7520-0D9BAF27301F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1155" t="16497" r="15034" b="16800"/>
          <a:stretch/>
        </p:blipFill>
        <p:spPr>
          <a:xfrm>
            <a:off x="8478607" y="409863"/>
            <a:ext cx="3037175" cy="1427242"/>
          </a:xfrm>
          <a:prstGeom prst="rect">
            <a:avLst/>
          </a:prstGeom>
        </p:spPr>
      </p:pic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FDD786D1-EA8F-18AF-C947-058C32712C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2452817"/>
            <a:ext cx="5365200" cy="2416046"/>
          </a:xfrm>
          <a:noFill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Aft>
                <a:spcPts val="1800"/>
              </a:spcAft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180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180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180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18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1800"/>
              </a:spcAft>
              <a:buNone/>
              <a:defRPr>
                <a:solidFill>
                  <a:schemeClr val="bg1"/>
                </a:solidFill>
              </a:defRPr>
            </a:lvl6pPr>
            <a:lvl7pPr>
              <a:lnSpc>
                <a:spcPct val="100000"/>
              </a:lnSpc>
              <a:spcAft>
                <a:spcPts val="1800"/>
              </a:spcAft>
              <a:defRPr sz="140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1800"/>
              </a:spcAft>
              <a:defRPr sz="140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1800"/>
              </a:spcAft>
              <a:defRPr sz="1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ontact</a:t>
            </a:r>
          </a:p>
          <a:p>
            <a:pPr lvl="1"/>
            <a:r>
              <a:rPr lang="en-US" noProof="0" dirty="0"/>
              <a:t>Title Name Surname</a:t>
            </a:r>
            <a:br>
              <a:rPr lang="en-US" noProof="0" dirty="0"/>
            </a:br>
            <a:r>
              <a:rPr lang="en-US" noProof="0" dirty="0"/>
              <a:t>Position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Email: name.surname@domain.org</a:t>
            </a:r>
          </a:p>
          <a:p>
            <a:pPr lvl="1"/>
            <a:r>
              <a:rPr lang="en-US" noProof="0" dirty="0"/>
              <a:t>www.lamarr-institute.org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EBA0284-5460-73BF-F456-16DB8BBCB397}"/>
              </a:ext>
            </a:extLst>
          </p:cNvPr>
          <p:cNvGrpSpPr/>
          <p:nvPr userDrawn="1"/>
        </p:nvGrpSpPr>
        <p:grpSpPr>
          <a:xfrm>
            <a:off x="0" y="5430644"/>
            <a:ext cx="12192000" cy="1427356"/>
            <a:chOff x="0" y="5430644"/>
            <a:chExt cx="12192000" cy="1427356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D901D969-68D4-1DAF-79E6-4E9459263DA4}"/>
                </a:ext>
              </a:extLst>
            </p:cNvPr>
            <p:cNvGrpSpPr/>
            <p:nvPr userDrawn="1"/>
          </p:nvGrpSpPr>
          <p:grpSpPr>
            <a:xfrm>
              <a:off x="0" y="5430644"/>
              <a:ext cx="12192000" cy="1427356"/>
              <a:chOff x="0" y="5430644"/>
              <a:chExt cx="12192000" cy="1427356"/>
            </a:xfrm>
          </p:grpSpPr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E42F5EFA-BE1C-FE1B-B5B6-B66135B23C4B}"/>
                  </a:ext>
                </a:extLst>
              </p:cNvPr>
              <p:cNvSpPr/>
              <p:nvPr userDrawn="1"/>
            </p:nvSpPr>
            <p:spPr>
              <a:xfrm>
                <a:off x="0" y="5430644"/>
                <a:ext cx="12192000" cy="14273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b="0" i="0" dirty="0">
                  <a:latin typeface="Work Sans" pitchFamily="2" charset="77"/>
                </a:endParaRPr>
              </a:p>
            </p:txBody>
          </p: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49A4B766-DEEC-0828-703D-DB1D0B59C7BA}"/>
                  </a:ext>
                </a:extLst>
              </p:cNvPr>
              <p:cNvSpPr txBox="1"/>
              <p:nvPr userDrawn="1"/>
            </p:nvSpPr>
            <p:spPr>
              <a:xfrm>
                <a:off x="731321" y="5692126"/>
                <a:ext cx="1357103" cy="246221"/>
              </a:xfrm>
              <a:prstGeom prst="rect">
                <a:avLst/>
              </a:prstGeom>
              <a:noFill/>
            </p:spPr>
            <p:txBody>
              <a:bodyPr wrap="none" lIns="0" rtlCol="0">
                <a:spAutoFit/>
              </a:bodyPr>
              <a:lstStyle/>
              <a:p>
                <a:pPr algn="l" fontAlgn="base"/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Work Sans" pitchFamily="2" charset="77"/>
                  </a:rPr>
                  <a:t>Partner </a:t>
                </a:r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+mn-lt"/>
                  </a:rPr>
                  <a:t>institutions</a:t>
                </a:r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Work Sans" pitchFamily="2" charset="77"/>
                  </a:rPr>
                  <a:t>:</a:t>
                </a:r>
              </a:p>
            </p:txBody>
          </p:sp>
          <p:grpSp>
            <p:nvGrpSpPr>
              <p:cNvPr id="17" name="Gruppieren 16">
                <a:extLst>
                  <a:ext uri="{FF2B5EF4-FFF2-40B4-BE49-F238E27FC236}">
                    <a16:creationId xmlns:a16="http://schemas.microsoft.com/office/drawing/2014/main" id="{3AF7516B-7CDC-E237-9C26-9DF87401DB56}"/>
                  </a:ext>
                </a:extLst>
              </p:cNvPr>
              <p:cNvGrpSpPr/>
              <p:nvPr userDrawn="1"/>
            </p:nvGrpSpPr>
            <p:grpSpPr>
              <a:xfrm>
                <a:off x="731322" y="6029988"/>
                <a:ext cx="6427081" cy="433766"/>
                <a:chOff x="731322" y="6031158"/>
                <a:chExt cx="7216569" cy="487049"/>
              </a:xfrm>
            </p:grpSpPr>
            <p:pic>
              <p:nvPicPr>
                <p:cNvPr id="26" name="Grafik 25">
                  <a:extLst>
                    <a:ext uri="{FF2B5EF4-FFF2-40B4-BE49-F238E27FC236}">
                      <a16:creationId xmlns:a16="http://schemas.microsoft.com/office/drawing/2014/main" id="{4A8C519C-12BE-63F6-69CD-E99E0E458A4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31322" y="6135085"/>
                  <a:ext cx="1423713" cy="261184"/>
                </a:xfrm>
                <a:prstGeom prst="rect">
                  <a:avLst/>
                </a:prstGeom>
              </p:spPr>
            </p:pic>
            <p:pic>
              <p:nvPicPr>
                <p:cNvPr id="27" name="Grafik 26">
                  <a:extLst>
                    <a:ext uri="{FF2B5EF4-FFF2-40B4-BE49-F238E27FC236}">
                      <a16:creationId xmlns:a16="http://schemas.microsoft.com/office/drawing/2014/main" id="{D2DC47FD-688D-A56D-B2A6-27C7EE75D32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08503" y="6052045"/>
                  <a:ext cx="1593623" cy="466162"/>
                </a:xfrm>
                <a:prstGeom prst="rect">
                  <a:avLst/>
                </a:prstGeom>
              </p:spPr>
            </p:pic>
            <p:pic>
              <p:nvPicPr>
                <p:cNvPr id="29" name="Grafik 28">
                  <a:extLst>
                    <a:ext uri="{FF2B5EF4-FFF2-40B4-BE49-F238E27FC236}">
                      <a16:creationId xmlns:a16="http://schemas.microsoft.com/office/drawing/2014/main" id="{602F6B01-BDC7-0360-B5B1-B4C7B6C4CED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23982" y="6047977"/>
                  <a:ext cx="1523909" cy="435402"/>
                </a:xfrm>
                <a:prstGeom prst="rect">
                  <a:avLst/>
                </a:prstGeom>
              </p:spPr>
            </p:pic>
            <p:pic>
              <p:nvPicPr>
                <p:cNvPr id="30" name="Grafik 29">
                  <a:extLst>
                    <a:ext uri="{FF2B5EF4-FFF2-40B4-BE49-F238E27FC236}">
                      <a16:creationId xmlns:a16="http://schemas.microsoft.com/office/drawing/2014/main" id="{42F11228-E2E2-128C-A40E-76201DFF492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37681" y="6031158"/>
                  <a:ext cx="1099348" cy="461016"/>
                </a:xfrm>
                <a:prstGeom prst="rect">
                  <a:avLst/>
                </a:prstGeom>
              </p:spPr>
            </p:pic>
          </p:grpSp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E0FE7991-22CE-A8A6-D350-21B2377ED172}"/>
                  </a:ext>
                </a:extLst>
              </p:cNvPr>
              <p:cNvSpPr txBox="1"/>
              <p:nvPr userDrawn="1"/>
            </p:nvSpPr>
            <p:spPr>
              <a:xfrm>
                <a:off x="8176924" y="5692126"/>
                <a:ext cx="1684115" cy="246221"/>
              </a:xfrm>
              <a:prstGeom prst="rect">
                <a:avLst/>
              </a:prstGeom>
              <a:noFill/>
            </p:spPr>
            <p:txBody>
              <a:bodyPr wrap="none" lIns="0" rtlCol="0">
                <a:spAutoFit/>
              </a:bodyPr>
              <a:lstStyle/>
              <a:p>
                <a:pPr algn="l" fontAlgn="base"/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+mn-lt"/>
                  </a:rPr>
                  <a:t>Institutionally</a:t>
                </a:r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Work Sans" pitchFamily="2" charset="77"/>
                  </a:rPr>
                  <a:t> funded by:</a:t>
                </a:r>
              </a:p>
            </p:txBody>
          </p:sp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39E742A7-6ECD-F29F-C0C1-826F8C45562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 t="30047"/>
              <a:stretch/>
            </p:blipFill>
            <p:spPr>
              <a:xfrm>
                <a:off x="9665184" y="6001246"/>
                <a:ext cx="2127796" cy="481767"/>
              </a:xfrm>
              <a:prstGeom prst="rect">
                <a:avLst/>
              </a:prstGeom>
            </p:spPr>
          </p:pic>
          <p:pic>
            <p:nvPicPr>
              <p:cNvPr id="25" name="Grafik 24">
                <a:extLst>
                  <a:ext uri="{FF2B5EF4-FFF2-40B4-BE49-F238E27FC236}">
                    <a16:creationId xmlns:a16="http://schemas.microsoft.com/office/drawing/2014/main" id="{A35E7190-9D00-0F9B-C29A-91D7E8FC19E0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 r="12490"/>
              <a:stretch/>
            </p:blipFill>
            <p:spPr>
              <a:xfrm>
                <a:off x="8008316" y="5871131"/>
                <a:ext cx="1269095" cy="897762"/>
              </a:xfrm>
              <a:prstGeom prst="rect">
                <a:avLst/>
              </a:prstGeom>
            </p:spPr>
          </p:pic>
        </p:grpSp>
        <p:cxnSp>
          <p:nvCxnSpPr>
            <p:cNvPr id="3" name="Gerade Verbindung 17">
              <a:extLst>
                <a:ext uri="{FF2B5EF4-FFF2-40B4-BE49-F238E27FC236}">
                  <a16:creationId xmlns:a16="http://schemas.microsoft.com/office/drawing/2014/main" id="{74950168-11E2-8A29-9E7C-0234A2DCA5A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36404" y="5769447"/>
              <a:ext cx="0" cy="785371"/>
            </a:xfrm>
            <a:prstGeom prst="line">
              <a:avLst/>
            </a:prstGeom>
            <a:ln w="3175">
              <a:solidFill>
                <a:srgbClr val="706F6F">
                  <a:alpha val="40238"/>
                </a:srgb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49148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" userDrawn="1">
          <p15:clr>
            <a:srgbClr val="FBAE40"/>
          </p15:clr>
        </p15:guide>
        <p15:guide id="2" pos="7242" userDrawn="1">
          <p15:clr>
            <a:srgbClr val="FBAE40"/>
          </p15:clr>
        </p15:guide>
        <p15:guide id="3" orient="horz" pos="306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4" imgH="345" progId="TCLayout.ActiveDocument.1">
                  <p:embed/>
                </p:oleObj>
              </mc:Choice>
              <mc:Fallback>
                <p:oleObj name="think-cell Folie" r:id="rId12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76250"/>
            <a:ext cx="10080000" cy="3811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en-US" noProof="0" dirty="0"/>
              <a:t>Headline, Work Sans </a:t>
            </a:r>
            <a:r>
              <a:rPr lang="en-US" noProof="0" dirty="0" err="1"/>
              <a:t>Semibold</a:t>
            </a:r>
            <a:r>
              <a:rPr lang="en-US" noProof="0" dirty="0"/>
              <a:t>, 24 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2060576"/>
            <a:ext cx="11234376" cy="39242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076400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EB7B926-6C72-460D-948D-ADFC6FA566AC}" type="datetime1">
              <a:rPr lang="en-US" smtClean="0"/>
              <a:pPr/>
              <a:t>3/22/26</a:t>
            </a:fld>
            <a:endParaRPr lang="en-US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8199" y="6455836"/>
            <a:ext cx="360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Lamarr</a:t>
            </a:r>
            <a:r>
              <a:rPr lang="en-US" dirty="0"/>
              <a:t> Institute for Machine Learning and Artificial Intelligence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257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C6E7B0F-8F33-F164-FA39-ABAB488D2B97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059385" y="486410"/>
            <a:ext cx="663350" cy="957047"/>
          </a:xfrm>
          <a:prstGeom prst="rect">
            <a:avLst/>
          </a:prstGeom>
        </p:spPr>
      </p:pic>
      <p:cxnSp>
        <p:nvCxnSpPr>
          <p:cNvPr id="7" name="Gerader Verbinder 33">
            <a:extLst>
              <a:ext uri="{FF2B5EF4-FFF2-40B4-BE49-F238E27FC236}">
                <a16:creationId xmlns:a16="http://schemas.microsoft.com/office/drawing/2014/main" id="{15363AF0-F9AB-0335-61CD-3DC19BF82FF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6595" y="6193553"/>
            <a:ext cx="11235980" cy="0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6" r:id="rId6"/>
    <p:sldLayoutId id="2147483657" r:id="rId7"/>
    <p:sldLayoutId id="2147483658" r:id="rId8"/>
    <p:sldLayoutId id="2147483659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0"/>
        </a:spcAft>
        <a:buFontTx/>
        <a:buNone/>
        <a:defRPr lang="en-US" sz="1400" b="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271463" indent="-271463" algn="l" defTabSz="914400" rtl="0" eaLnBrk="1" latinLnBrk="0" hangingPunct="1">
        <a:lnSpc>
          <a:spcPct val="110000"/>
        </a:lnSpc>
        <a:spcBef>
          <a:spcPts val="900"/>
        </a:spcBef>
        <a:spcAft>
          <a:spcPts val="0"/>
        </a:spcAft>
        <a:buFont typeface="Work Sans" pitchFamily="2" charset="0"/>
        <a:buChar char="▶"/>
        <a:defRPr lang="en-US" sz="1400" b="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450850" indent="-179388" algn="l" defTabSz="914400" rtl="0" eaLnBrk="1" latinLnBrk="0" hangingPunct="1">
        <a:lnSpc>
          <a:spcPct val="110000"/>
        </a:lnSpc>
        <a:spcBef>
          <a:spcPts val="300"/>
        </a:spcBef>
        <a:buFont typeface="Symbol" panose="05050102010706020507" pitchFamily="18" charset="2"/>
        <a:buChar char="-"/>
        <a:defRPr lang="en-US" sz="1400" b="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623888" indent="-173038" algn="l" defTabSz="914400" rtl="0" eaLnBrk="1" latinLnBrk="0" hangingPunct="1">
        <a:lnSpc>
          <a:spcPct val="110000"/>
        </a:lnSpc>
        <a:spcBef>
          <a:spcPts val="300"/>
        </a:spcBef>
        <a:buClrTx/>
        <a:buFont typeface="Symbol" panose="05050102010706020507" pitchFamily="18" charset="2"/>
        <a:buChar char="-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271463" indent="-271463" algn="l" defTabSz="914400" rtl="0" eaLnBrk="1" latinLnBrk="0" hangingPunct="1">
        <a:lnSpc>
          <a:spcPct val="110000"/>
        </a:lnSpc>
        <a:spcBef>
          <a:spcPts val="900"/>
        </a:spcBef>
        <a:buClrTx/>
        <a:buFont typeface="+mj-lt"/>
        <a:buAutoNum type="arabicPeriod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600"/>
        </a:spcAft>
        <a:buClrTx/>
        <a:buFont typeface="+mj-lt"/>
        <a:buNone/>
        <a:defRPr lang="en-US" sz="1600" kern="1200" noProof="0" dirty="0">
          <a:solidFill>
            <a:schemeClr val="tx1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600"/>
        </a:spcAft>
        <a:buClrTx/>
        <a:buFont typeface="+mj-lt"/>
        <a:buNone/>
        <a:defRPr sz="1600" kern="1200">
          <a:solidFill>
            <a:schemeClr val="accent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600"/>
        </a:spcAft>
        <a:buClrTx/>
        <a:buFont typeface="+mj-lt"/>
        <a:buNone/>
        <a:defRPr sz="1600" kern="1200">
          <a:solidFill>
            <a:schemeClr val="accent3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600"/>
        </a:spcAft>
        <a:buClrTx/>
        <a:buFont typeface="+mj-lt"/>
        <a:buNone/>
        <a:defRPr sz="1600" kern="1200">
          <a:solidFill>
            <a:schemeClr val="accent4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2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7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hyperlink" Target="https://events.lamarr-institute.org/e/lab-visits-2026-1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912159C-121D-8632-49D0-F204ED1816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5325" y="3330750"/>
            <a:ext cx="9360000" cy="1538113"/>
          </a:xfrm>
        </p:spPr>
        <p:txBody>
          <a:bodyPr/>
          <a:lstStyle/>
          <a:p>
            <a:pPr lvl="0"/>
            <a:r>
              <a:rPr lang="de-DE" dirty="0"/>
              <a:t>Lab Visits 2026.1</a:t>
            </a:r>
          </a:p>
          <a:p>
            <a:pPr lvl="1"/>
            <a:r>
              <a:rPr lang="en-US" dirty="0"/>
              <a:t>Organizational Information</a:t>
            </a:r>
          </a:p>
          <a:p>
            <a:pPr lvl="2"/>
            <a:r>
              <a:rPr lang="en-US" dirty="0"/>
              <a:t>Dr. Jens Buß</a:t>
            </a:r>
          </a:p>
        </p:txBody>
      </p:sp>
    </p:spTree>
    <p:extLst>
      <p:ext uri="{BB962C8B-B14F-4D97-AF65-F5344CB8AC3E}">
        <p14:creationId xmlns:p14="http://schemas.microsoft.com/office/powerpoint/2010/main" val="2062264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C01C08-FC2B-A787-8B0C-BAD77CCE4B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4EC61C10-704F-27ED-FC60-3928BFB6ED5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212" t="68675" r="64363" b="11499"/>
          <a:stretch>
            <a:fillRect/>
          </a:stretch>
        </p:blipFill>
        <p:spPr>
          <a:xfrm>
            <a:off x="3700441" y="2729143"/>
            <a:ext cx="2177153" cy="21092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6E30461-95C4-B880-EDBA-37C97009B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and Rooms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F26C33-5A90-D12A-EC29-262313E184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65E0D9-B87F-FA21-2CF8-20420706B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A64117-2680-C458-5D93-97839133A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10</a:t>
            </a:fld>
            <a:endParaRPr lang="en-US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529D364-4EDC-0451-4A48-77BB6BB773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463173"/>
            <a:ext cx="5811399" cy="317651"/>
          </a:xfrm>
        </p:spPr>
        <p:txBody>
          <a:bodyPr/>
          <a:lstStyle/>
          <a:p>
            <a:r>
              <a:rPr lang="en-US" dirty="0"/>
              <a:t>What to find where at the Lab Visit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22780B1-9BD9-8167-E686-4BE478B7AD0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334" t="19213" b="10723"/>
          <a:stretch>
            <a:fillRect/>
          </a:stretch>
        </p:blipFill>
        <p:spPr>
          <a:xfrm>
            <a:off x="6258952" y="279053"/>
            <a:ext cx="5901176" cy="8881001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9C184B52-63DC-9DCF-C8C5-29F58D9C6F20}"/>
              </a:ext>
            </a:extLst>
          </p:cNvPr>
          <p:cNvSpPr/>
          <p:nvPr/>
        </p:nvSpPr>
        <p:spPr>
          <a:xfrm>
            <a:off x="3892313" y="4451576"/>
            <a:ext cx="1985281" cy="346379"/>
          </a:xfrm>
          <a:prstGeom prst="rect">
            <a:avLst/>
          </a:prstGeom>
          <a:noFill/>
          <a:ln w="41275">
            <a:solidFill>
              <a:srgbClr val="E82E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79D2906-6209-05F3-4D79-7BBD859B605D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5877594" y="2143760"/>
            <a:ext cx="1854166" cy="2481006"/>
          </a:xfrm>
          <a:prstGeom prst="straightConnector1">
            <a:avLst/>
          </a:prstGeom>
          <a:ln w="31750">
            <a:solidFill>
              <a:srgbClr val="E82E8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21E05B8B-0B40-D9AE-1C14-C07AFD7ABA1E}"/>
              </a:ext>
            </a:extLst>
          </p:cNvPr>
          <p:cNvSpPr txBox="1">
            <a:spLocks/>
          </p:cNvSpPr>
          <p:nvPr/>
        </p:nvSpPr>
        <p:spPr bwMode="gray">
          <a:xfrm>
            <a:off x="479425" y="2060575"/>
            <a:ext cx="3221016" cy="392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FontTx/>
              <a:buNone/>
              <a:defRPr lang="en-US" sz="1400" b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Font typeface="Work Sans" pitchFamily="2" charset="0"/>
              <a:buChar char="▶"/>
              <a:defRPr lang="en-US" sz="14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0850" indent="-17938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lang="en-US" sz="14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3888" indent="-1730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Symbol" panose="05050102010706020507" pitchFamily="18" charset="2"/>
              <a:buChar char="-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1463" indent="-271463" algn="l" defTabSz="914400" rtl="0" eaLnBrk="1" latinLnBrk="0" hangingPunct="1">
              <a:lnSpc>
                <a:spcPct val="110000"/>
              </a:lnSpc>
              <a:spcBef>
                <a:spcPts val="900"/>
              </a:spcBef>
              <a:buClrTx/>
              <a:buFont typeface="+mj-lt"/>
              <a:buAutoNum type="arabicPeriod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lang="en-US" sz="16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Coffee &amp; </a:t>
            </a:r>
            <a:r>
              <a:rPr lang="de-DE" sz="1800" dirty="0" err="1"/>
              <a:t>tea</a:t>
            </a: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Cookies &amp; </a:t>
            </a:r>
            <a:r>
              <a:rPr lang="de-DE" sz="1800" dirty="0" err="1"/>
              <a:t>fruit</a:t>
            </a: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Mingle &amp; Ch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Tuesday Morning Kick-off </a:t>
            </a:r>
          </a:p>
        </p:txBody>
      </p:sp>
    </p:spTree>
    <p:extLst>
      <p:ext uri="{BB962C8B-B14F-4D97-AF65-F5344CB8AC3E}">
        <p14:creationId xmlns:p14="http://schemas.microsoft.com/office/powerpoint/2010/main" val="173144393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BA7ED-87BD-1687-4368-5FB4038E04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DC4984C5-42A4-9189-CA83-09CF122EED0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212" t="68675" r="64363" b="11499"/>
          <a:stretch>
            <a:fillRect/>
          </a:stretch>
        </p:blipFill>
        <p:spPr>
          <a:xfrm>
            <a:off x="3700441" y="2729143"/>
            <a:ext cx="2177153" cy="21092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08435F-6559-B5F3-9DCF-3BB38B9E0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and Rooms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E17A86A-6036-6351-EA19-ED342C18E8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F63C-63C5-A9C8-F988-4923874AF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69FCFF-9549-9237-B287-C39D6739B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11</a:t>
            </a:fld>
            <a:endParaRPr lang="en-US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2D23654-1F19-2CD6-9D08-AF3498A0AD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463173"/>
            <a:ext cx="5811399" cy="317651"/>
          </a:xfrm>
        </p:spPr>
        <p:txBody>
          <a:bodyPr/>
          <a:lstStyle/>
          <a:p>
            <a:r>
              <a:rPr lang="en-US" dirty="0"/>
              <a:t>What to find where at the Lab Visit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45259C3-37D9-7327-5B64-B608C6614D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334" t="19213" b="10723"/>
          <a:stretch>
            <a:fillRect/>
          </a:stretch>
        </p:blipFill>
        <p:spPr>
          <a:xfrm>
            <a:off x="6258952" y="-1909875"/>
            <a:ext cx="5901176" cy="8881001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E6DA425A-02B9-B6F6-BC53-D141DDCBE042}"/>
              </a:ext>
            </a:extLst>
          </p:cNvPr>
          <p:cNvSpPr/>
          <p:nvPr/>
        </p:nvSpPr>
        <p:spPr>
          <a:xfrm>
            <a:off x="3892313" y="4838442"/>
            <a:ext cx="1985281" cy="346379"/>
          </a:xfrm>
          <a:prstGeom prst="rect">
            <a:avLst/>
          </a:prstGeom>
          <a:noFill/>
          <a:ln w="41275">
            <a:solidFill>
              <a:srgbClr val="E82E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Luggage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2E90368A-0EA8-D93B-8EFE-082E1750C998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5877594" y="3458064"/>
            <a:ext cx="4198806" cy="1553568"/>
          </a:xfrm>
          <a:prstGeom prst="straightConnector1">
            <a:avLst/>
          </a:prstGeom>
          <a:ln w="31750">
            <a:solidFill>
              <a:srgbClr val="E82E8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39D1F36F-D125-37DF-AD15-CA5FDC4279F9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5877594" y="5011632"/>
            <a:ext cx="4089366" cy="1615909"/>
          </a:xfrm>
          <a:prstGeom prst="straightConnector1">
            <a:avLst/>
          </a:prstGeom>
          <a:ln w="31750">
            <a:noFill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2D86DE17-1C97-6F7C-EC5A-AB81F3172A01}"/>
              </a:ext>
            </a:extLst>
          </p:cNvPr>
          <p:cNvSpPr txBox="1"/>
          <p:nvPr/>
        </p:nvSpPr>
        <p:spPr>
          <a:xfrm rot="20298085">
            <a:off x="6129123" y="4668557"/>
            <a:ext cx="1651819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>
                <a:latin typeface="Bradley Hand" pitchFamily="2" charset="77"/>
              </a:rPr>
              <a:t>Bring after the </a:t>
            </a:r>
            <a:br>
              <a:rPr lang="en-US" sz="1600" dirty="0">
                <a:latin typeface="Bradley Hand" pitchFamily="2" charset="77"/>
              </a:rPr>
            </a:br>
            <a:r>
              <a:rPr lang="en-US" sz="1600" dirty="0">
                <a:latin typeface="Bradley Hand" pitchFamily="2" charset="77"/>
              </a:rPr>
              <a:t>group photo!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48973F2F-64B5-FA1A-E583-7344BEB88B49}"/>
              </a:ext>
            </a:extLst>
          </p:cNvPr>
          <p:cNvSpPr txBox="1">
            <a:spLocks/>
          </p:cNvSpPr>
          <p:nvPr/>
        </p:nvSpPr>
        <p:spPr bwMode="gray">
          <a:xfrm>
            <a:off x="479425" y="2060575"/>
            <a:ext cx="3221016" cy="392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FontTx/>
              <a:buNone/>
              <a:defRPr lang="en-US" sz="1400" b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Font typeface="Work Sans" pitchFamily="2" charset="0"/>
              <a:buChar char="▶"/>
              <a:defRPr lang="en-US" sz="14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0850" indent="-17938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lang="en-US" sz="14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3888" indent="-1730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Symbol" panose="05050102010706020507" pitchFamily="18" charset="2"/>
              <a:buChar char="-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1463" indent="-271463" algn="l" defTabSz="914400" rtl="0" eaLnBrk="1" latinLnBrk="0" hangingPunct="1">
              <a:lnSpc>
                <a:spcPct val="110000"/>
              </a:lnSpc>
              <a:spcBef>
                <a:spcPts val="900"/>
              </a:spcBef>
              <a:buClrTx/>
              <a:buFont typeface="+mj-lt"/>
              <a:buAutoNum type="arabicPeriod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lang="en-US" sz="16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Room will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locked</a:t>
            </a: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983082"/>
                </a:solidFill>
              </a:rPr>
              <a:t>Ask the people with the </a:t>
            </a:r>
            <a:r>
              <a:rPr lang="en-US" sz="1800" b="1" dirty="0">
                <a:solidFill>
                  <a:srgbClr val="C00000"/>
                </a:solidFill>
              </a:rPr>
              <a:t>red name tags </a:t>
            </a:r>
            <a:r>
              <a:rPr lang="en-US" sz="1800" b="1" dirty="0">
                <a:solidFill>
                  <a:srgbClr val="983082"/>
                </a:solidFill>
              </a:rPr>
              <a:t>for help 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Room will </a:t>
            </a:r>
            <a:r>
              <a:rPr lang="de-DE" sz="1800" dirty="0" err="1"/>
              <a:t>be</a:t>
            </a:r>
            <a:r>
              <a:rPr lang="de-DE" sz="1800" dirty="0"/>
              <a:t> open after </a:t>
            </a:r>
            <a:r>
              <a:rPr lang="de-DE" sz="1800" dirty="0" err="1"/>
              <a:t>group</a:t>
            </a:r>
            <a:r>
              <a:rPr lang="de-DE" sz="1800" dirty="0"/>
              <a:t> </a:t>
            </a:r>
            <a:r>
              <a:rPr lang="de-DE" sz="1800" dirty="0" err="1"/>
              <a:t>photo</a:t>
            </a:r>
            <a:endParaRPr lang="de-DE" sz="1800" dirty="0"/>
          </a:p>
          <a:p>
            <a:endParaRPr lang="en-US" sz="1800" b="1" dirty="0">
              <a:solidFill>
                <a:srgbClr val="98308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59021332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568899-A3C9-1AB3-ED94-E35FE1DFE7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DCA52AB6-74CA-FF0D-D36A-7DE54F53C46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212" t="68675" r="64363" b="11499"/>
          <a:stretch>
            <a:fillRect/>
          </a:stretch>
        </p:blipFill>
        <p:spPr>
          <a:xfrm>
            <a:off x="3700441" y="2729143"/>
            <a:ext cx="2177153" cy="21092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8AB3CB4-6462-7C7E-E8A0-469CADF7D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and Rooms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86DAE6C-8309-EAF9-7EE7-CB9E83E87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B8877D-7C01-20CE-8C23-638987DF6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5665C-D588-DAD7-5D7E-9BA04FE10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12</a:t>
            </a:fld>
            <a:endParaRPr lang="en-US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7E853AE-E9E5-4073-9982-150E545069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463173"/>
            <a:ext cx="5811399" cy="317651"/>
          </a:xfrm>
        </p:spPr>
        <p:txBody>
          <a:bodyPr/>
          <a:lstStyle/>
          <a:p>
            <a:r>
              <a:rPr lang="en-US" dirty="0"/>
              <a:t>What to find where at the Lab Visit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318E15C-5042-00C4-C27D-1B9889C84C6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334" t="19213" b="10723"/>
          <a:stretch>
            <a:fillRect/>
          </a:stretch>
        </p:blipFill>
        <p:spPr>
          <a:xfrm>
            <a:off x="6258952" y="-1909875"/>
            <a:ext cx="5901176" cy="8881001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9DC8BB09-20F1-AEB7-3537-F71653A8A0D9}"/>
              </a:ext>
            </a:extLst>
          </p:cNvPr>
          <p:cNvSpPr/>
          <p:nvPr/>
        </p:nvSpPr>
        <p:spPr>
          <a:xfrm>
            <a:off x="3892313" y="4838442"/>
            <a:ext cx="1985281" cy="346379"/>
          </a:xfrm>
          <a:prstGeom prst="rect">
            <a:avLst/>
          </a:prstGeom>
          <a:noFill/>
          <a:ln w="41275">
            <a:solidFill>
              <a:srgbClr val="E82E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Luggage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40F75F6A-DD46-DEFA-C6DB-1BEDDF7C4775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5877594" y="3458064"/>
            <a:ext cx="4198806" cy="1553568"/>
          </a:xfrm>
          <a:prstGeom prst="straightConnector1">
            <a:avLst/>
          </a:prstGeom>
          <a:ln w="31750">
            <a:solidFill>
              <a:srgbClr val="E82E8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E5BA4D1-C1B5-6C34-328A-9D535EB4F726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5877594" y="5011632"/>
            <a:ext cx="4089366" cy="1615909"/>
          </a:xfrm>
          <a:prstGeom prst="straightConnector1">
            <a:avLst/>
          </a:prstGeom>
          <a:ln w="31750">
            <a:noFill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75DD4E0A-6E6D-81A2-FF9F-C8E23CF1F3D9}"/>
              </a:ext>
            </a:extLst>
          </p:cNvPr>
          <p:cNvSpPr txBox="1"/>
          <p:nvPr/>
        </p:nvSpPr>
        <p:spPr>
          <a:xfrm rot="20298085">
            <a:off x="6129123" y="4668557"/>
            <a:ext cx="1651819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>
                <a:latin typeface="Bradley Hand" pitchFamily="2" charset="77"/>
              </a:rPr>
              <a:t>Bring after the </a:t>
            </a:r>
            <a:br>
              <a:rPr lang="en-US" sz="1600" dirty="0">
                <a:latin typeface="Bradley Hand" pitchFamily="2" charset="77"/>
              </a:rPr>
            </a:br>
            <a:r>
              <a:rPr lang="en-US" sz="1600" dirty="0">
                <a:latin typeface="Bradley Hand" pitchFamily="2" charset="77"/>
              </a:rPr>
              <a:t>group photo!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60DA40DD-0E52-F1EA-0E79-79021E3F38AA}"/>
              </a:ext>
            </a:extLst>
          </p:cNvPr>
          <p:cNvSpPr txBox="1">
            <a:spLocks/>
          </p:cNvSpPr>
          <p:nvPr/>
        </p:nvSpPr>
        <p:spPr bwMode="gray">
          <a:xfrm>
            <a:off x="479425" y="2060575"/>
            <a:ext cx="3221016" cy="392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FontTx/>
              <a:buNone/>
              <a:defRPr lang="en-US" sz="1400" b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Font typeface="Work Sans" pitchFamily="2" charset="0"/>
              <a:buChar char="▶"/>
              <a:defRPr lang="en-US" sz="14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0850" indent="-17938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lang="en-US" sz="14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3888" indent="-1730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Symbol" panose="05050102010706020507" pitchFamily="18" charset="2"/>
              <a:buChar char="-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1463" indent="-271463" algn="l" defTabSz="914400" rtl="0" eaLnBrk="1" latinLnBrk="0" hangingPunct="1">
              <a:lnSpc>
                <a:spcPct val="110000"/>
              </a:lnSpc>
              <a:spcBef>
                <a:spcPts val="900"/>
              </a:spcBef>
              <a:buClrTx/>
              <a:buFont typeface="+mj-lt"/>
              <a:buAutoNum type="arabicPeriod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lang="en-US" sz="16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Room will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locked</a:t>
            </a: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983082"/>
                </a:solidFill>
              </a:rPr>
              <a:t>Ask the people with the </a:t>
            </a:r>
            <a:r>
              <a:rPr lang="en-US" sz="1800" b="1" dirty="0">
                <a:solidFill>
                  <a:srgbClr val="C00000"/>
                </a:solidFill>
              </a:rPr>
              <a:t>red name tags </a:t>
            </a:r>
            <a:r>
              <a:rPr lang="en-US" sz="1800" b="1" dirty="0">
                <a:solidFill>
                  <a:srgbClr val="983082"/>
                </a:solidFill>
              </a:rPr>
              <a:t>for help 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Room will </a:t>
            </a:r>
            <a:r>
              <a:rPr lang="de-DE" sz="1800" dirty="0" err="1"/>
              <a:t>be</a:t>
            </a:r>
            <a:r>
              <a:rPr lang="de-DE" sz="1800" dirty="0"/>
              <a:t> open after </a:t>
            </a:r>
            <a:r>
              <a:rPr lang="de-DE" sz="1800" dirty="0" err="1"/>
              <a:t>group</a:t>
            </a:r>
            <a:r>
              <a:rPr lang="de-DE" sz="1800" dirty="0"/>
              <a:t> </a:t>
            </a:r>
            <a:r>
              <a:rPr lang="de-DE" sz="1800" dirty="0" err="1"/>
              <a:t>photo</a:t>
            </a:r>
            <a:endParaRPr lang="de-DE" sz="1800" dirty="0"/>
          </a:p>
          <a:p>
            <a:endParaRPr lang="en-US" sz="1800" b="1" dirty="0">
              <a:solidFill>
                <a:srgbClr val="98308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CCC11F9-E98D-66AC-E927-AD495BCDE202}"/>
              </a:ext>
            </a:extLst>
          </p:cNvPr>
          <p:cNvSpPr txBox="1"/>
          <p:nvPr/>
        </p:nvSpPr>
        <p:spPr>
          <a:xfrm>
            <a:off x="557997" y="5819445"/>
            <a:ext cx="2811191" cy="3308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3600" dirty="0">
                <a:latin typeface="Bradley Hand" pitchFamily="2" charset="77"/>
              </a:rPr>
              <a:t>Questions ???</a:t>
            </a:r>
          </a:p>
        </p:txBody>
      </p:sp>
    </p:spTree>
    <p:extLst>
      <p:ext uri="{BB962C8B-B14F-4D97-AF65-F5344CB8AC3E}">
        <p14:creationId xmlns:p14="http://schemas.microsoft.com/office/powerpoint/2010/main" val="326457131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CED52D-EEFE-7EC3-5E3D-0E37977887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11CDA044-455B-4CD4-22C2-B6D30DB061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5653" y="-4333987"/>
            <a:ext cx="14217200" cy="10382864"/>
          </a:xfrm>
          <a:prstGeom prst="rect">
            <a:avLst/>
          </a:prstGeom>
        </p:spPr>
      </p:pic>
      <p:sp>
        <p:nvSpPr>
          <p:cNvPr id="10" name="Pfeil nach rechts 9">
            <a:extLst>
              <a:ext uri="{FF2B5EF4-FFF2-40B4-BE49-F238E27FC236}">
                <a16:creationId xmlns:a16="http://schemas.microsoft.com/office/drawing/2014/main" id="{FA8CF5D1-4108-B327-A7AB-6D0DCDBCEEE0}"/>
              </a:ext>
            </a:extLst>
          </p:cNvPr>
          <p:cNvSpPr/>
          <p:nvPr/>
        </p:nvSpPr>
        <p:spPr>
          <a:xfrm>
            <a:off x="14122990" y="-3665401"/>
            <a:ext cx="1846768" cy="863549"/>
          </a:xfrm>
          <a:prstGeom prst="rightArrow">
            <a:avLst/>
          </a:prstGeom>
          <a:solidFill>
            <a:srgbClr val="E82E82"/>
          </a:solidFill>
          <a:ln w="9525">
            <a:solidFill>
              <a:srgbClr val="983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chemeClr val="bg1"/>
                </a:solidFill>
              </a:rPr>
              <a:t>Mensa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D9FAD15-CA64-A6B4-6A34-EAC459CBA593}"/>
              </a:ext>
            </a:extLst>
          </p:cNvPr>
          <p:cNvSpPr/>
          <p:nvPr/>
        </p:nvSpPr>
        <p:spPr>
          <a:xfrm>
            <a:off x="2523744" y="-1133856"/>
            <a:ext cx="10424160" cy="210943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AF02DC-8BA6-59C3-3328-79789743F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rections to the Lamarr Institu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71029B0-C3D7-F8B2-D264-A3787672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12D009-FE80-2532-084E-990580022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732983-EE6B-FE71-A5CF-0572EBF6F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13</a:t>
            </a:fld>
            <a:endParaRPr lang="en-US" noProof="0" dirty="0"/>
          </a:p>
        </p:txBody>
      </p:sp>
      <p:sp>
        <p:nvSpPr>
          <p:cNvPr id="11" name="Pfeil nach links 10">
            <a:extLst>
              <a:ext uri="{FF2B5EF4-FFF2-40B4-BE49-F238E27FC236}">
                <a16:creationId xmlns:a16="http://schemas.microsoft.com/office/drawing/2014/main" id="{9E55A71D-D82A-50CE-5A67-AEA54F100375}"/>
              </a:ext>
            </a:extLst>
          </p:cNvPr>
          <p:cNvSpPr/>
          <p:nvPr/>
        </p:nvSpPr>
        <p:spPr>
          <a:xfrm>
            <a:off x="5376285" y="7069872"/>
            <a:ext cx="2359539" cy="863549"/>
          </a:xfrm>
          <a:prstGeom prst="leftArrow">
            <a:avLst/>
          </a:prstGeom>
          <a:solidFill>
            <a:srgbClr val="E82E82"/>
          </a:solidFill>
          <a:ln w="9525">
            <a:solidFill>
              <a:srgbClr val="983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chemeClr val="bg1"/>
                </a:solidFill>
              </a:rPr>
              <a:t>ISM Mens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2859E2F9-D392-019A-AF19-8FAFCF58C4AF}"/>
              </a:ext>
            </a:extLst>
          </p:cNvPr>
          <p:cNvGrpSpPr/>
          <p:nvPr/>
        </p:nvGrpSpPr>
        <p:grpSpPr>
          <a:xfrm>
            <a:off x="3525843" y="2304937"/>
            <a:ext cx="667248" cy="680615"/>
            <a:chOff x="2468241" y="3679189"/>
            <a:chExt cx="564758" cy="576072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344B1C5-B130-F668-5CE2-3EF1D5C5F67A}"/>
                </a:ext>
              </a:extLst>
            </p:cNvPr>
            <p:cNvSpPr/>
            <p:nvPr/>
          </p:nvSpPr>
          <p:spPr>
            <a:xfrm>
              <a:off x="2468241" y="3679189"/>
              <a:ext cx="564758" cy="576072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4A4A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9CDDB5E4-D686-350C-50FC-F1C891DFA886}"/>
                </a:ext>
              </a:extLst>
            </p:cNvPr>
            <p:cNvPicPr>
              <a:picLocks noChangeAspect="1"/>
            </p:cNvPicPr>
            <p:nvPr/>
          </p:nvPicPr>
          <p:blipFill>
            <a:blip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4531" y="3746047"/>
              <a:ext cx="306607" cy="442357"/>
            </a:xfrm>
            <a:prstGeom prst="rect">
              <a:avLst/>
            </a:prstGeom>
          </p:spPr>
        </p:pic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CE337B8-4A53-5DCD-10DA-D1DA4F1C451A}"/>
              </a:ext>
            </a:extLst>
          </p:cNvPr>
          <p:cNvGrpSpPr/>
          <p:nvPr/>
        </p:nvGrpSpPr>
        <p:grpSpPr>
          <a:xfrm>
            <a:off x="4323548" y="2476729"/>
            <a:ext cx="4866910" cy="1120787"/>
            <a:chOff x="4641924" y="4178512"/>
            <a:chExt cx="2621665" cy="603736"/>
          </a:xfrm>
        </p:grpSpPr>
        <p:pic>
          <p:nvPicPr>
            <p:cNvPr id="18" name="Grafik 17" descr="Markierung mit einfarbiger Füllung">
              <a:extLst>
                <a:ext uri="{FF2B5EF4-FFF2-40B4-BE49-F238E27FC236}">
                  <a16:creationId xmlns:a16="http://schemas.microsoft.com/office/drawing/2014/main" id="{2FEAFF1B-746E-4558-D556-9764DB88031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641924" y="4178512"/>
              <a:ext cx="512961" cy="512961"/>
            </a:xfrm>
            <a:prstGeom prst="rect">
              <a:avLst/>
            </a:prstGeom>
          </p:spPr>
        </p:pic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A5136AD1-7541-8268-0533-3589009A8FFD}"/>
                </a:ext>
              </a:extLst>
            </p:cNvPr>
            <p:cNvSpPr txBox="1"/>
            <p:nvPr/>
          </p:nvSpPr>
          <p:spPr>
            <a:xfrm>
              <a:off x="5089102" y="4269287"/>
              <a:ext cx="2174487" cy="512961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dirty="0">
                  <a:ln w="3175">
                    <a:solidFill>
                      <a:schemeClr val="tx1">
                        <a:alpha val="47286"/>
                      </a:schemeClr>
                    </a:solidFill>
                  </a:ln>
                  <a:solidFill>
                    <a:srgbClr val="FFBC29"/>
                  </a:solidFill>
                  <a:latin typeface="+mj-lt"/>
                </a:rPr>
                <a:t>You are </a:t>
              </a:r>
              <a:br>
                <a:rPr lang="en-US" dirty="0">
                  <a:ln w="3175">
                    <a:solidFill>
                      <a:schemeClr val="tx1">
                        <a:alpha val="47286"/>
                      </a:schemeClr>
                    </a:solidFill>
                  </a:ln>
                  <a:solidFill>
                    <a:srgbClr val="FFBC29"/>
                  </a:solidFill>
                  <a:latin typeface="+mj-lt"/>
                </a:rPr>
              </a:br>
              <a:r>
                <a:rPr lang="en-US" dirty="0">
                  <a:ln w="3175">
                    <a:solidFill>
                      <a:schemeClr val="tx1">
                        <a:alpha val="47286"/>
                      </a:schemeClr>
                    </a:solidFill>
                  </a:ln>
                  <a:solidFill>
                    <a:srgbClr val="FFBC29"/>
                  </a:solidFill>
                  <a:latin typeface="+mj-lt"/>
                </a:rPr>
                <a:t>here</a:t>
              </a:r>
            </a:p>
          </p:txBody>
        </p:sp>
      </p:grpSp>
      <p:cxnSp>
        <p:nvCxnSpPr>
          <p:cNvPr id="12" name="Gewinkelte Verbindung 11">
            <a:extLst>
              <a:ext uri="{FF2B5EF4-FFF2-40B4-BE49-F238E27FC236}">
                <a16:creationId xmlns:a16="http://schemas.microsoft.com/office/drawing/2014/main" id="{60189A4A-FB6B-C8BF-82E7-E39A1DF8FBFC}"/>
              </a:ext>
            </a:extLst>
          </p:cNvPr>
          <p:cNvCxnSpPr>
            <a:cxnSpLocks/>
          </p:cNvCxnSpPr>
          <p:nvPr/>
        </p:nvCxnSpPr>
        <p:spPr>
          <a:xfrm rot="16200000" flipV="1">
            <a:off x="4049016" y="3006794"/>
            <a:ext cx="1111044" cy="662514"/>
          </a:xfrm>
          <a:prstGeom prst="bentConnector3">
            <a:avLst>
              <a:gd name="adj1" fmla="val -26106"/>
            </a:avLst>
          </a:prstGeom>
          <a:ln w="5715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D20058A7-BF27-A23B-C111-EF51D41AF4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2060575"/>
            <a:ext cx="2857697" cy="3924300"/>
          </a:xfrm>
        </p:spPr>
        <p:txBody>
          <a:bodyPr/>
          <a:lstStyle/>
          <a:p>
            <a:r>
              <a:rPr lang="en-US" sz="3600" dirty="0">
                <a:latin typeface="Bradley Hand" pitchFamily="2" charset="77"/>
              </a:rPr>
              <a:t>After lunch we will continue in the Lamarr Institute</a:t>
            </a:r>
          </a:p>
        </p:txBody>
      </p:sp>
    </p:spTree>
    <p:extLst>
      <p:ext uri="{BB962C8B-B14F-4D97-AF65-F5344CB8AC3E}">
        <p14:creationId xmlns:p14="http://schemas.microsoft.com/office/powerpoint/2010/main" val="365566317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985AB605-F066-FEF5-960B-4BAB3FD74E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3048" y="627404"/>
            <a:ext cx="7658399" cy="5592952"/>
          </a:xfrm>
          <a:prstGeom prst="rect">
            <a:avLst/>
          </a:prstGeom>
        </p:spPr>
      </p:pic>
      <p:sp>
        <p:nvSpPr>
          <p:cNvPr id="10" name="Pfeil nach rechts 9">
            <a:extLst>
              <a:ext uri="{FF2B5EF4-FFF2-40B4-BE49-F238E27FC236}">
                <a16:creationId xmlns:a16="http://schemas.microsoft.com/office/drawing/2014/main" id="{AC805D4F-BFA9-ABA0-2327-041E60E06137}"/>
              </a:ext>
            </a:extLst>
          </p:cNvPr>
          <p:cNvSpPr/>
          <p:nvPr/>
        </p:nvSpPr>
        <p:spPr>
          <a:xfrm>
            <a:off x="9564624" y="987552"/>
            <a:ext cx="994801" cy="465169"/>
          </a:xfrm>
          <a:prstGeom prst="rightArrow">
            <a:avLst/>
          </a:prstGeom>
          <a:solidFill>
            <a:srgbClr val="E82E82"/>
          </a:solidFill>
          <a:ln w="9525">
            <a:solidFill>
              <a:srgbClr val="983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chemeClr val="bg1"/>
                </a:solidFill>
              </a:rPr>
              <a:t>Mensa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1695389-2360-D32A-3618-AE7FF391793D}"/>
              </a:ext>
            </a:extLst>
          </p:cNvPr>
          <p:cNvSpPr/>
          <p:nvPr/>
        </p:nvSpPr>
        <p:spPr>
          <a:xfrm>
            <a:off x="2523744" y="-1133856"/>
            <a:ext cx="10424160" cy="210943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F3656A9-8508-EFA3-5A2D-640863512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unch: Mensa Location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CD68D8-CBF0-DFDA-13DA-907E5393E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9A8A322-EAED-B117-1668-04994EA833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4EA3B2-C3CE-6C16-39CC-093408D4B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14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5A4CF61-132E-F8DD-E899-32BBC443F7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Pfeil nach links 10">
            <a:extLst>
              <a:ext uri="{FF2B5EF4-FFF2-40B4-BE49-F238E27FC236}">
                <a16:creationId xmlns:a16="http://schemas.microsoft.com/office/drawing/2014/main" id="{265B5D41-055A-E811-1792-F0EF433C1F3C}"/>
              </a:ext>
            </a:extLst>
          </p:cNvPr>
          <p:cNvSpPr/>
          <p:nvPr/>
        </p:nvSpPr>
        <p:spPr>
          <a:xfrm>
            <a:off x="4824984" y="5670860"/>
            <a:ext cx="1271016" cy="465169"/>
          </a:xfrm>
          <a:prstGeom prst="leftArrow">
            <a:avLst/>
          </a:prstGeom>
          <a:solidFill>
            <a:srgbClr val="E82E82"/>
          </a:solidFill>
          <a:ln w="9525">
            <a:solidFill>
              <a:srgbClr val="983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chemeClr val="bg1"/>
                </a:solidFill>
              </a:rPr>
              <a:t>ISM Mens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1EE6014-8202-0E05-8702-DCAB581D1993}"/>
              </a:ext>
            </a:extLst>
          </p:cNvPr>
          <p:cNvGrpSpPr/>
          <p:nvPr/>
        </p:nvGrpSpPr>
        <p:grpSpPr>
          <a:xfrm>
            <a:off x="3626669" y="4155456"/>
            <a:ext cx="564758" cy="576072"/>
            <a:chOff x="2468241" y="3679189"/>
            <a:chExt cx="564758" cy="576072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F5F4CC3C-F74A-DB39-6F34-51A8B1DEA46D}"/>
                </a:ext>
              </a:extLst>
            </p:cNvPr>
            <p:cNvSpPr/>
            <p:nvPr/>
          </p:nvSpPr>
          <p:spPr>
            <a:xfrm>
              <a:off x="2468241" y="3679189"/>
              <a:ext cx="564758" cy="576072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4A4A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1B64EB17-7239-26CE-FE61-AE2C6CAF782D}"/>
                </a:ext>
              </a:extLst>
            </p:cNvPr>
            <p:cNvPicPr>
              <a:picLocks noChangeAspect="1"/>
            </p:cNvPicPr>
            <p:nvPr/>
          </p:nvPicPr>
          <p:blipFill>
            <a:blip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4531" y="3746047"/>
              <a:ext cx="306607" cy="442357"/>
            </a:xfrm>
            <a:prstGeom prst="rect">
              <a:avLst/>
            </a:prstGeom>
          </p:spPr>
        </p:pic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024D410D-81B2-366C-EDEA-17155B133F91}"/>
              </a:ext>
            </a:extLst>
          </p:cNvPr>
          <p:cNvGrpSpPr/>
          <p:nvPr/>
        </p:nvGrpSpPr>
        <p:grpSpPr>
          <a:xfrm>
            <a:off x="4078199" y="3914103"/>
            <a:ext cx="4866910" cy="1120787"/>
            <a:chOff x="4641924" y="4178512"/>
            <a:chExt cx="2621665" cy="603736"/>
          </a:xfrm>
        </p:grpSpPr>
        <p:pic>
          <p:nvPicPr>
            <p:cNvPr id="23" name="Grafik 22" descr="Markierung mit einfarbiger Füllung">
              <a:extLst>
                <a:ext uri="{FF2B5EF4-FFF2-40B4-BE49-F238E27FC236}">
                  <a16:creationId xmlns:a16="http://schemas.microsoft.com/office/drawing/2014/main" id="{BAE5118F-496C-7259-4464-22ECE2EF40F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641924" y="4178512"/>
              <a:ext cx="512961" cy="512961"/>
            </a:xfrm>
            <a:prstGeom prst="rect">
              <a:avLst/>
            </a:prstGeom>
          </p:spPr>
        </p:pic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C3B8A7ED-D36B-2CC2-5E82-392DB71018F8}"/>
                </a:ext>
              </a:extLst>
            </p:cNvPr>
            <p:cNvSpPr txBox="1"/>
            <p:nvPr/>
          </p:nvSpPr>
          <p:spPr>
            <a:xfrm>
              <a:off x="5089102" y="4269287"/>
              <a:ext cx="2174487" cy="512961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dirty="0">
                  <a:ln w="3175">
                    <a:solidFill>
                      <a:schemeClr val="tx1">
                        <a:alpha val="47286"/>
                      </a:schemeClr>
                    </a:solidFill>
                  </a:ln>
                  <a:solidFill>
                    <a:srgbClr val="FFBC29"/>
                  </a:solidFill>
                  <a:latin typeface="+mj-lt"/>
                </a:rPr>
                <a:t>You are </a:t>
              </a:r>
              <a:br>
                <a:rPr lang="en-US" dirty="0">
                  <a:ln w="3175">
                    <a:solidFill>
                      <a:schemeClr val="tx1">
                        <a:alpha val="47286"/>
                      </a:schemeClr>
                    </a:solidFill>
                  </a:ln>
                  <a:solidFill>
                    <a:srgbClr val="FFBC29"/>
                  </a:solidFill>
                  <a:latin typeface="+mj-lt"/>
                </a:rPr>
              </a:br>
              <a:r>
                <a:rPr lang="en-US" dirty="0">
                  <a:ln w="3175">
                    <a:solidFill>
                      <a:schemeClr val="tx1">
                        <a:alpha val="47286"/>
                      </a:schemeClr>
                    </a:solidFill>
                  </a:ln>
                  <a:solidFill>
                    <a:srgbClr val="FFBC29"/>
                  </a:solidFill>
                  <a:latin typeface="+mj-lt"/>
                </a:rPr>
                <a:t>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533403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58D98E-E862-6B25-4DE3-6016A79C2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69DE739A-4EF3-6BA5-94C7-1780F14BAC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7017" y="-5048332"/>
            <a:ext cx="14217200" cy="10382864"/>
          </a:xfrm>
          <a:prstGeom prst="rect">
            <a:avLst/>
          </a:prstGeom>
        </p:spPr>
      </p:pic>
      <p:sp>
        <p:nvSpPr>
          <p:cNvPr id="10" name="Pfeil nach rechts 9">
            <a:extLst>
              <a:ext uri="{FF2B5EF4-FFF2-40B4-BE49-F238E27FC236}">
                <a16:creationId xmlns:a16="http://schemas.microsoft.com/office/drawing/2014/main" id="{707DB2E0-703B-1818-BD49-DA4E500CB0BE}"/>
              </a:ext>
            </a:extLst>
          </p:cNvPr>
          <p:cNvSpPr/>
          <p:nvPr/>
        </p:nvSpPr>
        <p:spPr>
          <a:xfrm>
            <a:off x="14122990" y="-3665401"/>
            <a:ext cx="1846768" cy="863549"/>
          </a:xfrm>
          <a:prstGeom prst="rightArrow">
            <a:avLst/>
          </a:prstGeom>
          <a:solidFill>
            <a:srgbClr val="E82E82"/>
          </a:solidFill>
          <a:ln w="9525">
            <a:solidFill>
              <a:srgbClr val="983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chemeClr val="bg1"/>
                </a:solidFill>
              </a:rPr>
              <a:t>Mensa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C257F477-5DAC-FC2E-DDA6-51709FF2D6C3}"/>
              </a:ext>
            </a:extLst>
          </p:cNvPr>
          <p:cNvSpPr/>
          <p:nvPr/>
        </p:nvSpPr>
        <p:spPr>
          <a:xfrm>
            <a:off x="-444934" y="-962377"/>
            <a:ext cx="12906292" cy="210943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29F1A44-9D55-5AA0-5C52-B8F61E8A7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 Photo: Simple Instruction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451D59E-E954-FD0F-0CD0-6C46E59E9D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42B962-F04B-2AA6-D35E-78C47BF49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CC591E-FBB2-A193-923B-CCA33142C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15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4504B12-CF27-30A4-1DDF-47CB499E50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31408" y="1889096"/>
            <a:ext cx="11235600" cy="39243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feil nach links 10">
            <a:extLst>
              <a:ext uri="{FF2B5EF4-FFF2-40B4-BE49-F238E27FC236}">
                <a16:creationId xmlns:a16="http://schemas.microsoft.com/office/drawing/2014/main" id="{29FACE35-DD3C-3723-3B56-666E40F6EC96}"/>
              </a:ext>
            </a:extLst>
          </p:cNvPr>
          <p:cNvSpPr/>
          <p:nvPr/>
        </p:nvSpPr>
        <p:spPr>
          <a:xfrm>
            <a:off x="12323579" y="6085616"/>
            <a:ext cx="2359539" cy="863549"/>
          </a:xfrm>
          <a:prstGeom prst="leftArrow">
            <a:avLst/>
          </a:prstGeom>
          <a:solidFill>
            <a:srgbClr val="E82E82"/>
          </a:solidFill>
          <a:ln w="9525">
            <a:solidFill>
              <a:srgbClr val="983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chemeClr val="bg1"/>
                </a:solidFill>
              </a:rPr>
              <a:t>ISM Mens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5A822881-8049-F18F-DB88-553D9FEE58BF}"/>
              </a:ext>
            </a:extLst>
          </p:cNvPr>
          <p:cNvGrpSpPr/>
          <p:nvPr/>
        </p:nvGrpSpPr>
        <p:grpSpPr>
          <a:xfrm>
            <a:off x="8757207" y="1590592"/>
            <a:ext cx="667248" cy="680615"/>
            <a:chOff x="2468241" y="3679189"/>
            <a:chExt cx="564758" cy="576072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93C85B0B-F7E6-07C2-B2E8-BB6EAA3A5D79}"/>
                </a:ext>
              </a:extLst>
            </p:cNvPr>
            <p:cNvSpPr/>
            <p:nvPr/>
          </p:nvSpPr>
          <p:spPr>
            <a:xfrm>
              <a:off x="2468241" y="3679189"/>
              <a:ext cx="564758" cy="576072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4A4A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BF90661B-EDF5-5AAB-3055-ED0A72603B9F}"/>
                </a:ext>
              </a:extLst>
            </p:cNvPr>
            <p:cNvPicPr>
              <a:picLocks noChangeAspect="1"/>
            </p:cNvPicPr>
            <p:nvPr/>
          </p:nvPicPr>
          <p:blipFill>
            <a:blip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4531" y="3746047"/>
              <a:ext cx="306607" cy="442357"/>
            </a:xfrm>
            <a:prstGeom prst="rect">
              <a:avLst/>
            </a:prstGeom>
          </p:spPr>
        </p:pic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79CAA4C-22D3-A62F-D3D1-DD6F89BCCDCE}"/>
              </a:ext>
            </a:extLst>
          </p:cNvPr>
          <p:cNvGrpSpPr/>
          <p:nvPr/>
        </p:nvGrpSpPr>
        <p:grpSpPr>
          <a:xfrm>
            <a:off x="9554912" y="1762384"/>
            <a:ext cx="4866910" cy="1120787"/>
            <a:chOff x="4641924" y="4178512"/>
            <a:chExt cx="2621665" cy="603736"/>
          </a:xfrm>
        </p:grpSpPr>
        <p:pic>
          <p:nvPicPr>
            <p:cNvPr id="18" name="Grafik 17" descr="Markierung mit einfarbiger Füllung">
              <a:extLst>
                <a:ext uri="{FF2B5EF4-FFF2-40B4-BE49-F238E27FC236}">
                  <a16:creationId xmlns:a16="http://schemas.microsoft.com/office/drawing/2014/main" id="{F75177BF-F4D8-AB4E-A9B7-C8CE9A2CB04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641924" y="4178512"/>
              <a:ext cx="512961" cy="512961"/>
            </a:xfrm>
            <a:prstGeom prst="rect">
              <a:avLst/>
            </a:prstGeom>
          </p:spPr>
        </p:pic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4784EE72-B3CA-7C73-230B-F0647DED2399}"/>
                </a:ext>
              </a:extLst>
            </p:cNvPr>
            <p:cNvSpPr txBox="1"/>
            <p:nvPr/>
          </p:nvSpPr>
          <p:spPr>
            <a:xfrm>
              <a:off x="5089102" y="4269287"/>
              <a:ext cx="2174487" cy="512961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dirty="0">
                  <a:ln w="3175">
                    <a:solidFill>
                      <a:schemeClr val="tx1">
                        <a:alpha val="47286"/>
                      </a:schemeClr>
                    </a:solidFill>
                  </a:ln>
                  <a:solidFill>
                    <a:srgbClr val="FFBC29"/>
                  </a:solidFill>
                  <a:latin typeface="+mj-lt"/>
                </a:rPr>
                <a:t>You are </a:t>
              </a:r>
              <a:br>
                <a:rPr lang="en-US" dirty="0">
                  <a:ln w="3175">
                    <a:solidFill>
                      <a:schemeClr val="tx1">
                        <a:alpha val="47286"/>
                      </a:schemeClr>
                    </a:solidFill>
                  </a:ln>
                  <a:solidFill>
                    <a:srgbClr val="FFBC29"/>
                  </a:solidFill>
                  <a:latin typeface="+mj-lt"/>
                </a:rPr>
              </a:br>
              <a:r>
                <a:rPr lang="en-US" dirty="0">
                  <a:ln w="3175">
                    <a:solidFill>
                      <a:schemeClr val="tx1">
                        <a:alpha val="47286"/>
                      </a:schemeClr>
                    </a:solidFill>
                  </a:ln>
                  <a:solidFill>
                    <a:srgbClr val="FFBC29"/>
                  </a:solidFill>
                  <a:latin typeface="+mj-lt"/>
                </a:rPr>
                <a:t>here</a:t>
              </a:r>
            </a:p>
          </p:txBody>
        </p:sp>
      </p:grpSp>
      <p:cxnSp>
        <p:nvCxnSpPr>
          <p:cNvPr id="12" name="Gewinkelte Verbindung 11">
            <a:extLst>
              <a:ext uri="{FF2B5EF4-FFF2-40B4-BE49-F238E27FC236}">
                <a16:creationId xmlns:a16="http://schemas.microsoft.com/office/drawing/2014/main" id="{1A9126AC-9CFD-3087-DEF8-544E9516163E}"/>
              </a:ext>
            </a:extLst>
          </p:cNvPr>
          <p:cNvCxnSpPr>
            <a:cxnSpLocks/>
          </p:cNvCxnSpPr>
          <p:nvPr/>
        </p:nvCxnSpPr>
        <p:spPr>
          <a:xfrm rot="16200000" flipV="1">
            <a:off x="9280380" y="2292449"/>
            <a:ext cx="1111044" cy="662514"/>
          </a:xfrm>
          <a:prstGeom prst="bentConnector3">
            <a:avLst>
              <a:gd name="adj1" fmla="val -26106"/>
            </a:avLst>
          </a:prstGeom>
          <a:ln w="5715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Photo. Group picture taken">
            <a:extLst>
              <a:ext uri="{FF2B5EF4-FFF2-40B4-BE49-F238E27FC236}">
                <a16:creationId xmlns:a16="http://schemas.microsoft.com/office/drawing/2014/main" id="{323FBCB4-7C20-86A5-FB93-FE99510C7E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772" b="24753"/>
          <a:stretch>
            <a:fillRect/>
          </a:stretch>
        </p:blipFill>
        <p:spPr bwMode="auto">
          <a:xfrm>
            <a:off x="478199" y="2427896"/>
            <a:ext cx="5912971" cy="1320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Frontal view of the Josef von Fraunhofer Straße 25.">
            <a:extLst>
              <a:ext uri="{FF2B5EF4-FFF2-40B4-BE49-F238E27FC236}">
                <a16:creationId xmlns:a16="http://schemas.microsoft.com/office/drawing/2014/main" id="{3FBEADBC-40E8-2A82-5010-41F73CCAA5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199" y="3951893"/>
            <a:ext cx="5912973" cy="2109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Pfeil nach links 21">
            <a:extLst>
              <a:ext uri="{FF2B5EF4-FFF2-40B4-BE49-F238E27FC236}">
                <a16:creationId xmlns:a16="http://schemas.microsoft.com/office/drawing/2014/main" id="{14C1ECBA-CD40-D2DF-7BDE-5707C6595BBA}"/>
              </a:ext>
            </a:extLst>
          </p:cNvPr>
          <p:cNvSpPr/>
          <p:nvPr/>
        </p:nvSpPr>
        <p:spPr>
          <a:xfrm>
            <a:off x="6417391" y="2772901"/>
            <a:ext cx="2202372" cy="863549"/>
          </a:xfrm>
          <a:prstGeom prst="leftArrow">
            <a:avLst/>
          </a:prstGeom>
          <a:solidFill>
            <a:srgbClr val="E82E82"/>
          </a:solidFill>
          <a:ln w="9525">
            <a:solidFill>
              <a:srgbClr val="983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2. Do this !!</a:t>
            </a:r>
          </a:p>
        </p:txBody>
      </p:sp>
      <p:sp>
        <p:nvSpPr>
          <p:cNvPr id="24" name="Pfeil nach links 23">
            <a:extLst>
              <a:ext uri="{FF2B5EF4-FFF2-40B4-BE49-F238E27FC236}">
                <a16:creationId xmlns:a16="http://schemas.microsoft.com/office/drawing/2014/main" id="{31EB9EA2-C29C-2059-D3CB-784D04110989}"/>
              </a:ext>
            </a:extLst>
          </p:cNvPr>
          <p:cNvSpPr/>
          <p:nvPr/>
        </p:nvSpPr>
        <p:spPr>
          <a:xfrm>
            <a:off x="6428457" y="4793896"/>
            <a:ext cx="2180240" cy="863549"/>
          </a:xfrm>
          <a:prstGeom prst="leftArrow">
            <a:avLst/>
          </a:prstGeom>
          <a:solidFill>
            <a:srgbClr val="E82E82"/>
          </a:solidFill>
          <a:ln w="9525">
            <a:solidFill>
              <a:srgbClr val="983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3. In front of this !!!</a:t>
            </a:r>
          </a:p>
        </p:txBody>
      </p:sp>
      <p:sp>
        <p:nvSpPr>
          <p:cNvPr id="25" name="Pfeil nach rechts 24">
            <a:extLst>
              <a:ext uri="{FF2B5EF4-FFF2-40B4-BE49-F238E27FC236}">
                <a16:creationId xmlns:a16="http://schemas.microsoft.com/office/drawing/2014/main" id="{EF5BD5C8-E9F0-83B1-5C69-C09F4D146186}"/>
              </a:ext>
            </a:extLst>
          </p:cNvPr>
          <p:cNvSpPr/>
          <p:nvPr/>
        </p:nvSpPr>
        <p:spPr>
          <a:xfrm>
            <a:off x="6417391" y="1499124"/>
            <a:ext cx="2202372" cy="863549"/>
          </a:xfrm>
          <a:prstGeom prst="rightArrow">
            <a:avLst/>
          </a:prstGeom>
          <a:solidFill>
            <a:srgbClr val="E82E82"/>
          </a:solidFill>
          <a:ln w="9525">
            <a:solidFill>
              <a:srgbClr val="983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1. Go here !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D7A82FBE-078E-4F7B-A2FC-91839F57B19E}"/>
              </a:ext>
            </a:extLst>
          </p:cNvPr>
          <p:cNvSpPr txBox="1"/>
          <p:nvPr/>
        </p:nvSpPr>
        <p:spPr>
          <a:xfrm>
            <a:off x="7032771" y="5563610"/>
            <a:ext cx="2058060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>
                <a:latin typeface="Bradley Hand" pitchFamily="2" charset="77"/>
              </a:rPr>
              <a:t>Go to luggage room </a:t>
            </a:r>
            <a:r>
              <a:rPr lang="en-US" sz="1600" b="1" dirty="0">
                <a:solidFill>
                  <a:srgbClr val="983082"/>
                </a:solidFill>
                <a:latin typeface="Bradley Hand" pitchFamily="2" charset="77"/>
              </a:rPr>
              <a:t>after</a:t>
            </a:r>
            <a:r>
              <a:rPr lang="en-US" sz="1600" dirty="0">
                <a:latin typeface="Bradley Hand" pitchFamily="2" charset="77"/>
              </a:rPr>
              <a:t> the group photo!</a:t>
            </a:r>
          </a:p>
        </p:txBody>
      </p:sp>
    </p:spTree>
    <p:extLst>
      <p:ext uri="{BB962C8B-B14F-4D97-AF65-F5344CB8AC3E}">
        <p14:creationId xmlns:p14="http://schemas.microsoft.com/office/powerpoint/2010/main" val="201692715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247B49-1674-B6F1-34EC-2D48D1675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on Indico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06E9DAD-AB02-B5B9-8B99-950C09D85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BCA414-2E40-0F95-354F-53C332C707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75F79D-325C-8BAC-7355-65EB27BDA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2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ED22A2F-F662-6F1A-8B43-F4E51D65BC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68267" y="1216366"/>
            <a:ext cx="3146757" cy="4768509"/>
          </a:xfrm>
        </p:spPr>
        <p:txBody>
          <a:bodyPr/>
          <a:lstStyle/>
          <a:p>
            <a:r>
              <a:rPr lang="en-US" b="1" dirty="0"/>
              <a:t>All information on Indico:</a:t>
            </a:r>
          </a:p>
          <a:p>
            <a:pPr marL="285750" indent="-177750">
              <a:buClr>
                <a:schemeClr val="accent4"/>
              </a:buClr>
              <a:buFont typeface="Systemschrift Normal"/>
              <a:buChar char="🦙"/>
            </a:pPr>
            <a:r>
              <a:rPr lang="en-US" dirty="0"/>
              <a:t>Sessions</a:t>
            </a:r>
          </a:p>
          <a:p>
            <a:pPr marL="285750" indent="-177750">
              <a:buClr>
                <a:schemeClr val="accent4"/>
              </a:buClr>
              <a:buFont typeface="Systemschrift Normal"/>
              <a:buChar char="🦙"/>
            </a:pPr>
            <a:r>
              <a:rPr lang="en-US" dirty="0"/>
              <a:t>Times</a:t>
            </a:r>
          </a:p>
          <a:p>
            <a:pPr marL="285750" indent="-177750">
              <a:buClr>
                <a:schemeClr val="accent4"/>
              </a:buClr>
              <a:buFont typeface="Systemschrift Normal"/>
              <a:buChar char="🦙"/>
            </a:pPr>
            <a:r>
              <a:rPr lang="en-US" dirty="0"/>
              <a:t>Locations</a:t>
            </a:r>
          </a:p>
          <a:p>
            <a:pPr marL="285750" indent="-177750">
              <a:buClr>
                <a:schemeClr val="accent4"/>
              </a:buClr>
              <a:buFont typeface="Systemschrift Normal"/>
              <a:buChar char="🦙"/>
            </a:pPr>
            <a:r>
              <a:rPr lang="en-US" dirty="0"/>
              <a:t>Conveners</a:t>
            </a:r>
          </a:p>
          <a:p>
            <a:pPr marL="108000">
              <a:buClr>
                <a:schemeClr val="accent4"/>
              </a:buClr>
            </a:pPr>
            <a:endParaRPr lang="en-US" dirty="0"/>
          </a:p>
          <a:p>
            <a:pPr marL="108000">
              <a:buClr>
                <a:schemeClr val="accent4"/>
              </a:buClr>
            </a:pPr>
            <a:r>
              <a:rPr lang="en-US" dirty="0">
                <a:latin typeface="+mj-lt"/>
              </a:rPr>
              <a:t>Questions:</a:t>
            </a:r>
            <a:r>
              <a:rPr lang="en-US" dirty="0"/>
              <a:t> </a:t>
            </a:r>
            <a:r>
              <a:rPr lang="en-US" dirty="0">
                <a:solidFill>
                  <a:srgbClr val="983082"/>
                </a:solidFill>
                <a:latin typeface="+mj-lt"/>
              </a:rPr>
              <a:t>Ask the people with the </a:t>
            </a:r>
            <a:r>
              <a:rPr lang="en-US" dirty="0">
                <a:solidFill>
                  <a:srgbClr val="C00000"/>
                </a:solidFill>
                <a:latin typeface="+mj-lt"/>
              </a:rPr>
              <a:t>red name tags </a:t>
            </a:r>
            <a:r>
              <a:rPr lang="en-US" dirty="0">
                <a:solidFill>
                  <a:srgbClr val="983082"/>
                </a:solidFill>
                <a:latin typeface="+mj-lt"/>
              </a:rPr>
              <a:t>for help !</a:t>
            </a:r>
          </a:p>
          <a:p>
            <a:pPr marL="108000">
              <a:buClr>
                <a:schemeClr val="accent4"/>
              </a:buClr>
            </a:pPr>
            <a:r>
              <a:rPr lang="en-US" dirty="0"/>
              <a:t>Or call Jens: +49 231 755 5104</a:t>
            </a:r>
          </a:p>
          <a:p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362CB22-7A10-1442-4F52-135AAF041E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6622" y="4500359"/>
            <a:ext cx="1655953" cy="1655953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CD562E4-7C98-367A-0604-BAD98709868B}"/>
              </a:ext>
            </a:extLst>
          </p:cNvPr>
          <p:cNvSpPr txBox="1"/>
          <p:nvPr/>
        </p:nvSpPr>
        <p:spPr>
          <a:xfrm>
            <a:off x="5080011" y="5923081"/>
            <a:ext cx="4974162" cy="23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hlinkClick r:id="rId4"/>
              </a:rPr>
              <a:t>https://events.lamarr-institute.org/e/lab-visits-2026-1 </a:t>
            </a:r>
            <a:endParaRPr lang="en-US" sz="1400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E7F3A1B6-CD5A-CA0A-051E-9535E0F7797F}"/>
              </a:ext>
            </a:extLst>
          </p:cNvPr>
          <p:cNvGrpSpPr/>
          <p:nvPr/>
        </p:nvGrpSpPr>
        <p:grpSpPr>
          <a:xfrm>
            <a:off x="347851" y="1204721"/>
            <a:ext cx="8049813" cy="5177029"/>
            <a:chOff x="347851" y="1204721"/>
            <a:chExt cx="8049813" cy="5177029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56021A98-D635-B818-6C7D-A6344502FB84}"/>
                </a:ext>
              </a:extLst>
            </p:cNvPr>
            <p:cNvGrpSpPr/>
            <p:nvPr/>
          </p:nvGrpSpPr>
          <p:grpSpPr>
            <a:xfrm>
              <a:off x="347851" y="1204721"/>
              <a:ext cx="8049813" cy="5177029"/>
              <a:chOff x="476975" y="1381852"/>
              <a:chExt cx="8049813" cy="5177029"/>
            </a:xfrm>
          </p:grpSpPr>
          <p:pic>
            <p:nvPicPr>
              <p:cNvPr id="13" name="Grafik 12">
                <a:extLst>
                  <a:ext uri="{FF2B5EF4-FFF2-40B4-BE49-F238E27FC236}">
                    <a16:creationId xmlns:a16="http://schemas.microsoft.com/office/drawing/2014/main" id="{8A222F74-2FFE-6199-A85C-33EA26CB4A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34152" y="1381853"/>
                <a:ext cx="3992636" cy="4218848"/>
              </a:xfrm>
              <a:prstGeom prst="rect">
                <a:avLst/>
              </a:prstGeom>
            </p:spPr>
          </p:pic>
          <p:pic>
            <p:nvPicPr>
              <p:cNvPr id="14" name="Grafik 13">
                <a:extLst>
                  <a:ext uri="{FF2B5EF4-FFF2-40B4-BE49-F238E27FC236}">
                    <a16:creationId xmlns:a16="http://schemas.microsoft.com/office/drawing/2014/main" id="{D5AC6671-B9E4-FF4E-F8F8-65736C40F1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76975" y="1381852"/>
                <a:ext cx="3958247" cy="5177029"/>
              </a:xfrm>
              <a:prstGeom prst="rect">
                <a:avLst/>
              </a:prstGeom>
            </p:spPr>
          </p:pic>
        </p:grp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C34A094F-6EBF-7311-8EDC-99C509B9562F}"/>
                </a:ext>
              </a:extLst>
            </p:cNvPr>
            <p:cNvSpPr txBox="1"/>
            <p:nvPr/>
          </p:nvSpPr>
          <p:spPr>
            <a:xfrm>
              <a:off x="627527" y="2060575"/>
              <a:ext cx="2418032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177750" algn="l">
                <a:buClr>
                  <a:schemeClr val="accent4"/>
                </a:buClr>
                <a:buFont typeface="Systemschrift Normal"/>
                <a:buChar char="🦙"/>
              </a:pPr>
              <a:r>
                <a:rPr lang="en-US" sz="800" dirty="0">
                  <a:latin typeface="+mj-lt"/>
                </a:rPr>
                <a:t>Welcome</a:t>
              </a:r>
            </a:p>
            <a:p>
              <a:pPr marL="285750" indent="-177750" algn="l">
                <a:buClr>
                  <a:schemeClr val="accent4"/>
                </a:buClr>
                <a:buFont typeface="Systemschrift Normal"/>
                <a:buChar char="🦙"/>
              </a:pPr>
              <a:r>
                <a:rPr lang="en-US" sz="800" dirty="0">
                  <a:latin typeface="+mj-lt"/>
                </a:rPr>
                <a:t>Area Updates I</a:t>
              </a:r>
            </a:p>
            <a:p>
              <a:pPr marL="285750" indent="-177750" algn="l">
                <a:buClr>
                  <a:schemeClr val="accent4"/>
                </a:buClr>
                <a:buFont typeface="Systemschrift Normal"/>
                <a:buChar char="🦙"/>
              </a:pPr>
              <a:r>
                <a:rPr lang="en-US" sz="800" dirty="0">
                  <a:latin typeface="+mj-lt"/>
                </a:rPr>
                <a:t>Science Speed dating</a:t>
              </a:r>
            </a:p>
            <a:p>
              <a:pPr marL="285750" indent="-177750" algn="l">
                <a:buClr>
                  <a:schemeClr val="accent4"/>
                </a:buClr>
                <a:buFont typeface="Systemschrift Normal"/>
                <a:buChar char="🦙"/>
              </a:pPr>
              <a:r>
                <a:rPr lang="en-US" sz="800" dirty="0">
                  <a:latin typeface="+mj-lt"/>
                </a:rPr>
                <a:t>Session pitches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A02F16DF-5E8B-B147-CC45-30E61E82BA19}"/>
                </a:ext>
              </a:extLst>
            </p:cNvPr>
            <p:cNvSpPr txBox="1"/>
            <p:nvPr/>
          </p:nvSpPr>
          <p:spPr>
            <a:xfrm>
              <a:off x="4666851" y="1376159"/>
              <a:ext cx="241803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177750" algn="l">
                <a:buClr>
                  <a:schemeClr val="accent4"/>
                </a:buClr>
                <a:buFont typeface="Systemschrift Normal"/>
                <a:buChar char="🦙"/>
              </a:pPr>
              <a:r>
                <a:rPr lang="en-US" sz="800" dirty="0">
                  <a:latin typeface="+mj-lt"/>
                </a:rPr>
                <a:t>Area Updates II</a:t>
              </a:r>
            </a:p>
            <a:p>
              <a:pPr marL="285750" indent="-177750" algn="l">
                <a:buClr>
                  <a:schemeClr val="accent4"/>
                </a:buClr>
                <a:buFont typeface="Systemschrift Normal"/>
                <a:buChar char="🦙"/>
              </a:pPr>
              <a:r>
                <a:rPr lang="en-US" sz="800" dirty="0">
                  <a:latin typeface="+mj-lt"/>
                </a:rPr>
                <a:t>Session pitches</a:t>
              </a:r>
            </a:p>
          </p:txBody>
        </p: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5475ECB6-E475-D7CF-2090-FD385210A3AE}"/>
              </a:ext>
            </a:extLst>
          </p:cNvPr>
          <p:cNvSpPr txBox="1"/>
          <p:nvPr/>
        </p:nvSpPr>
        <p:spPr>
          <a:xfrm>
            <a:off x="6645349" y="1216366"/>
            <a:ext cx="1552353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rgbClr val="4A4AD8"/>
                </a:solidFill>
                <a:latin typeface="Bradley Hand" pitchFamily="2" charset="77"/>
              </a:rPr>
              <a:t>Location: </a:t>
            </a:r>
            <a:br>
              <a:rPr lang="en-US" sz="1400" dirty="0">
                <a:solidFill>
                  <a:srgbClr val="983082"/>
                </a:solidFill>
                <a:latin typeface="Bradley Hand" pitchFamily="2" charset="77"/>
              </a:rPr>
            </a:br>
            <a:r>
              <a:rPr lang="en-US" sz="1400" dirty="0">
                <a:solidFill>
                  <a:srgbClr val="983082"/>
                </a:solidFill>
                <a:latin typeface="Bradley Hand" pitchFamily="2" charset="77"/>
              </a:rPr>
              <a:t>Lamarr Institute</a:t>
            </a:r>
          </a:p>
        </p:txBody>
      </p:sp>
    </p:spTree>
    <p:extLst>
      <p:ext uri="{BB962C8B-B14F-4D97-AF65-F5344CB8AC3E}">
        <p14:creationId xmlns:p14="http://schemas.microsoft.com/office/powerpoint/2010/main" val="1983459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8C32EB-C824-8CE1-0ED5-0EC4A867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Dinn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C2DB211-8082-0778-300A-A0F0EE4563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AED41D-C017-0794-290F-0B34D8C856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69DC5F-FC74-8AA9-016A-4CB39A9C1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3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5823A0-53D2-E949-983F-A2BFA7738D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30245" y="4178241"/>
            <a:ext cx="3274141" cy="2101602"/>
          </a:xfrm>
        </p:spPr>
        <p:txBody>
          <a:bodyPr/>
          <a:lstStyle/>
          <a:p>
            <a:r>
              <a:rPr lang="en-US" sz="2400" dirty="0">
                <a:solidFill>
                  <a:srgbClr val="0C122B"/>
                </a:solidFill>
                <a:latin typeface="+mj-lt"/>
              </a:rPr>
              <a:t>Tonight at 7 PM</a:t>
            </a:r>
          </a:p>
          <a:p>
            <a:r>
              <a:rPr lang="de-DE" sz="2400" dirty="0">
                <a:solidFill>
                  <a:srgbClr val="983082"/>
                </a:solidFill>
                <a:latin typeface="+mj-lt"/>
              </a:rPr>
              <a:t>Hohe Str. 61A </a:t>
            </a:r>
          </a:p>
          <a:p>
            <a:r>
              <a:rPr lang="de-DE" sz="2400" dirty="0">
                <a:solidFill>
                  <a:srgbClr val="983082"/>
                </a:solidFill>
                <a:latin typeface="+mj-lt"/>
              </a:rPr>
              <a:t>44139 Dortmund </a:t>
            </a:r>
            <a:endParaRPr lang="en-US" sz="2400" dirty="0">
              <a:solidFill>
                <a:srgbClr val="983082"/>
              </a:solidFill>
              <a:latin typeface="+mj-lt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447A1A5-C272-89B0-685D-942557E38D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27941" y="832872"/>
            <a:ext cx="4731483" cy="947952"/>
          </a:xfrm>
        </p:spPr>
        <p:txBody>
          <a:bodyPr/>
          <a:lstStyle/>
          <a:p>
            <a:r>
              <a:rPr lang="de-DE" sz="2800" dirty="0" err="1">
                <a:latin typeface="Bradley Hand" pitchFamily="2" charset="77"/>
              </a:rPr>
              <a:t>Good</a:t>
            </a:r>
            <a:r>
              <a:rPr lang="de-DE" sz="2800" dirty="0">
                <a:latin typeface="Bradley Hand" pitchFamily="2" charset="77"/>
              </a:rPr>
              <a:t> Food. Great Company. </a:t>
            </a:r>
            <a:br>
              <a:rPr lang="de-DE" sz="2800" dirty="0">
                <a:latin typeface="Bradley Hand" pitchFamily="2" charset="77"/>
              </a:rPr>
            </a:br>
            <a:r>
              <a:rPr lang="de-DE" sz="2800" dirty="0">
                <a:latin typeface="Bradley Hand" pitchFamily="2" charset="77"/>
              </a:rPr>
              <a:t>Even </a:t>
            </a:r>
            <a:r>
              <a:rPr lang="de-DE" sz="2800" dirty="0" err="1">
                <a:latin typeface="Bradley Hand" pitchFamily="2" charset="77"/>
              </a:rPr>
              <a:t>Better</a:t>
            </a:r>
            <a:r>
              <a:rPr lang="de-DE" sz="2800" dirty="0">
                <a:latin typeface="Bradley Hand" pitchFamily="2" charset="77"/>
              </a:rPr>
              <a:t> Connections.</a:t>
            </a:r>
            <a:endParaRPr lang="en-US" sz="2800" dirty="0">
              <a:latin typeface="Bradley Hand" pitchFamily="2" charset="77"/>
            </a:endParaRPr>
          </a:p>
        </p:txBody>
      </p:sp>
      <p:pic>
        <p:nvPicPr>
          <p:cNvPr id="2050" name="Picture 2" descr="Foto von: atmosphere">
            <a:extLst>
              <a:ext uri="{FF2B5EF4-FFF2-40B4-BE49-F238E27FC236}">
                <a16:creationId xmlns:a16="http://schemas.microsoft.com/office/drawing/2014/main" id="{A456676B-80D9-CF53-0306-61B9B6D902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7942" y="2060575"/>
            <a:ext cx="5884633" cy="392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EA73B4E-3FCC-C8D0-334D-2568B6C7F0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199" y="1124619"/>
            <a:ext cx="3996953" cy="257256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EFAF5E4-743E-CE9E-A749-E0E320A669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199" y="4178241"/>
            <a:ext cx="1739743" cy="1682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2040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C89E00-88B4-8DA9-F04A-8F0A54FC1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D39E2044-9859-A7D0-E0E5-AED3A14E0F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5653" y="-4333987"/>
            <a:ext cx="14217200" cy="10382864"/>
          </a:xfrm>
          <a:prstGeom prst="rect">
            <a:avLst/>
          </a:prstGeom>
        </p:spPr>
      </p:pic>
      <p:sp>
        <p:nvSpPr>
          <p:cNvPr id="10" name="Pfeil nach rechts 9">
            <a:extLst>
              <a:ext uri="{FF2B5EF4-FFF2-40B4-BE49-F238E27FC236}">
                <a16:creationId xmlns:a16="http://schemas.microsoft.com/office/drawing/2014/main" id="{0D04A5A8-1C3D-36A2-D465-A66A4A92A18B}"/>
              </a:ext>
            </a:extLst>
          </p:cNvPr>
          <p:cNvSpPr/>
          <p:nvPr/>
        </p:nvSpPr>
        <p:spPr>
          <a:xfrm>
            <a:off x="14122990" y="-3665401"/>
            <a:ext cx="1846768" cy="863549"/>
          </a:xfrm>
          <a:prstGeom prst="rightArrow">
            <a:avLst/>
          </a:prstGeom>
          <a:solidFill>
            <a:srgbClr val="E82E82"/>
          </a:solidFill>
          <a:ln w="9525">
            <a:solidFill>
              <a:srgbClr val="983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chemeClr val="bg1"/>
                </a:solidFill>
              </a:rPr>
              <a:t>Mensa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99D248C-7B1E-27EE-D68A-966388F882E6}"/>
              </a:ext>
            </a:extLst>
          </p:cNvPr>
          <p:cNvSpPr/>
          <p:nvPr/>
        </p:nvSpPr>
        <p:spPr>
          <a:xfrm>
            <a:off x="2555642" y="-133117"/>
            <a:ext cx="10424160" cy="210943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1AAA13-2611-84F5-26FD-AE5ABB1A3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rections to the Lamarr Institu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BEB82FA-ADB1-0A33-E856-FF0154449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BE2912A-CA79-9434-C461-2B83B5A12B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0294D7-6132-D491-C696-DEFEFC5A2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4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BFDDA88-61A7-209B-F21F-F1107BD69E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2060575"/>
            <a:ext cx="2857697" cy="3924300"/>
          </a:xfrm>
        </p:spPr>
        <p:txBody>
          <a:bodyPr/>
          <a:lstStyle/>
          <a:p>
            <a:r>
              <a:rPr lang="en-US" sz="3600" dirty="0">
                <a:latin typeface="Bradley Hand" pitchFamily="2" charset="77"/>
              </a:rPr>
              <a:t>After lunch we will continue in the Lamarr Institute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474E91D0-C14F-ABDC-C555-085E963F494C}"/>
              </a:ext>
            </a:extLst>
          </p:cNvPr>
          <p:cNvGrpSpPr/>
          <p:nvPr/>
        </p:nvGrpSpPr>
        <p:grpSpPr>
          <a:xfrm>
            <a:off x="3525843" y="2304937"/>
            <a:ext cx="667248" cy="680615"/>
            <a:chOff x="2468241" y="3679189"/>
            <a:chExt cx="564758" cy="576072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FC19615-E289-6E2E-B6FD-437E79930A88}"/>
                </a:ext>
              </a:extLst>
            </p:cNvPr>
            <p:cNvSpPr/>
            <p:nvPr/>
          </p:nvSpPr>
          <p:spPr>
            <a:xfrm>
              <a:off x="2468241" y="3679189"/>
              <a:ext cx="564758" cy="576072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4A4A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C95791E4-AEBC-5C35-B624-B13D03BA1415}"/>
                </a:ext>
              </a:extLst>
            </p:cNvPr>
            <p:cNvPicPr>
              <a:picLocks noChangeAspect="1"/>
            </p:cNvPicPr>
            <p:nvPr/>
          </p:nvPicPr>
          <p:blipFill>
            <a:blip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4531" y="3746047"/>
              <a:ext cx="306607" cy="442357"/>
            </a:xfrm>
            <a:prstGeom prst="rect">
              <a:avLst/>
            </a:prstGeom>
          </p:spPr>
        </p:pic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0AC7358A-7FF6-8E6F-B4C3-10451689E3C6}"/>
              </a:ext>
            </a:extLst>
          </p:cNvPr>
          <p:cNvGrpSpPr/>
          <p:nvPr/>
        </p:nvGrpSpPr>
        <p:grpSpPr>
          <a:xfrm>
            <a:off x="4323548" y="2476729"/>
            <a:ext cx="4866910" cy="1120787"/>
            <a:chOff x="4641924" y="4178512"/>
            <a:chExt cx="2621665" cy="603736"/>
          </a:xfrm>
        </p:grpSpPr>
        <p:pic>
          <p:nvPicPr>
            <p:cNvPr id="18" name="Grafik 17" descr="Markierung mit einfarbiger Füllung">
              <a:extLst>
                <a:ext uri="{FF2B5EF4-FFF2-40B4-BE49-F238E27FC236}">
                  <a16:creationId xmlns:a16="http://schemas.microsoft.com/office/drawing/2014/main" id="{12B56A3F-6057-74C1-D43E-A6AD270016B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641924" y="4178512"/>
              <a:ext cx="512961" cy="512961"/>
            </a:xfrm>
            <a:prstGeom prst="rect">
              <a:avLst/>
            </a:prstGeom>
          </p:spPr>
        </p:pic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073E357-D3B2-C8A4-6485-22E064B356BB}"/>
                </a:ext>
              </a:extLst>
            </p:cNvPr>
            <p:cNvSpPr txBox="1"/>
            <p:nvPr/>
          </p:nvSpPr>
          <p:spPr>
            <a:xfrm>
              <a:off x="5089102" y="4269287"/>
              <a:ext cx="2174487" cy="512961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dirty="0">
                  <a:ln w="3175">
                    <a:solidFill>
                      <a:schemeClr val="tx1">
                        <a:alpha val="47286"/>
                      </a:schemeClr>
                    </a:solidFill>
                  </a:ln>
                  <a:solidFill>
                    <a:srgbClr val="FFBC29"/>
                  </a:solidFill>
                  <a:latin typeface="+mj-lt"/>
                </a:rPr>
                <a:t>You are </a:t>
              </a:r>
              <a:br>
                <a:rPr lang="en-US" dirty="0">
                  <a:ln w="3175">
                    <a:solidFill>
                      <a:schemeClr val="tx1">
                        <a:alpha val="47286"/>
                      </a:schemeClr>
                    </a:solidFill>
                  </a:ln>
                  <a:solidFill>
                    <a:srgbClr val="FFBC29"/>
                  </a:solidFill>
                  <a:latin typeface="+mj-lt"/>
                </a:rPr>
              </a:br>
              <a:r>
                <a:rPr lang="en-US" dirty="0">
                  <a:ln w="3175">
                    <a:solidFill>
                      <a:schemeClr val="tx1">
                        <a:alpha val="47286"/>
                      </a:schemeClr>
                    </a:solidFill>
                  </a:ln>
                  <a:solidFill>
                    <a:srgbClr val="FFBC29"/>
                  </a:solidFill>
                  <a:latin typeface="+mj-lt"/>
                </a:rPr>
                <a:t>here</a:t>
              </a:r>
            </a:p>
          </p:txBody>
        </p:sp>
      </p:grpSp>
      <p:cxnSp>
        <p:nvCxnSpPr>
          <p:cNvPr id="12" name="Gewinkelte Verbindung 11">
            <a:extLst>
              <a:ext uri="{FF2B5EF4-FFF2-40B4-BE49-F238E27FC236}">
                <a16:creationId xmlns:a16="http://schemas.microsoft.com/office/drawing/2014/main" id="{AA42395B-4441-BD02-CE22-2B7401DC99B4}"/>
              </a:ext>
            </a:extLst>
          </p:cNvPr>
          <p:cNvCxnSpPr>
            <a:cxnSpLocks/>
          </p:cNvCxnSpPr>
          <p:nvPr/>
        </p:nvCxnSpPr>
        <p:spPr>
          <a:xfrm rot="16200000" flipV="1">
            <a:off x="4049016" y="3006794"/>
            <a:ext cx="1111044" cy="662514"/>
          </a:xfrm>
          <a:prstGeom prst="bentConnector3">
            <a:avLst>
              <a:gd name="adj1" fmla="val -26106"/>
            </a:avLst>
          </a:prstGeom>
          <a:ln w="5715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8855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6CFE2-E70D-141B-2334-3F4BBED822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E35805-D5D9-EE82-8795-ED53064E3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and Rooms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0D91A0A-89BB-F1BE-9EF0-92452529BB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A6C3493-6941-FFD2-3A89-7218E5023D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51DAD4-AF46-7197-8A2A-A04A6286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5</a:t>
            </a:fld>
            <a:endParaRPr lang="en-US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55DFD4D-56B4-F4C5-2C20-8BCB7E348A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463173"/>
            <a:ext cx="5811399" cy="317651"/>
          </a:xfrm>
        </p:spPr>
        <p:txBody>
          <a:bodyPr/>
          <a:lstStyle/>
          <a:p>
            <a:r>
              <a:rPr lang="en-US" dirty="0"/>
              <a:t>What to find where at the Lab Visits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1C0315C-9E26-948B-4FBF-7F0894515DB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212" t="68675" r="64363" b="11499"/>
          <a:stretch>
            <a:fillRect/>
          </a:stretch>
        </p:blipFill>
        <p:spPr>
          <a:xfrm>
            <a:off x="3700441" y="2729143"/>
            <a:ext cx="2177153" cy="210929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3F63CE9-29FF-EDE4-23D4-F6A489A3984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334" t="19213" b="10723"/>
          <a:stretch>
            <a:fillRect/>
          </a:stretch>
        </p:blipFill>
        <p:spPr>
          <a:xfrm>
            <a:off x="6815426" y="-142240"/>
            <a:ext cx="4537148" cy="6828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294622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90A85A-D5D5-297D-B8E8-1ACB12F706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E2EE5D-43DC-82EB-796D-C58C036A8B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and Rooms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219D1A9-16C9-948C-B81E-AA59FC194E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767CF41-B93A-78A7-B5D0-E18D9DBE5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ADF8CB5-A77B-6CB3-06D5-B80459725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6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766795E-725F-7907-276F-BFAF445FF1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2060575"/>
            <a:ext cx="3221016" cy="39243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heck Indico and room plans in the stairways for sessions and location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A7C11-6B78-CD81-BDCC-CCBDDF83EC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463173"/>
            <a:ext cx="5811399" cy="317651"/>
          </a:xfrm>
        </p:spPr>
        <p:txBody>
          <a:bodyPr/>
          <a:lstStyle/>
          <a:p>
            <a:r>
              <a:rPr lang="en-US" dirty="0"/>
              <a:t>What to find where at the Lab Visits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020E644-A6C5-87EB-AF7C-0C3CA4FACF3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212" t="68675" r="64363" b="11499"/>
          <a:stretch>
            <a:fillRect/>
          </a:stretch>
        </p:blipFill>
        <p:spPr>
          <a:xfrm>
            <a:off x="3700441" y="2729143"/>
            <a:ext cx="2177153" cy="210929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8197005-C4D4-6228-DA81-80E23F7F80C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334" t="19213" b="10723"/>
          <a:stretch>
            <a:fillRect/>
          </a:stretch>
        </p:blipFill>
        <p:spPr>
          <a:xfrm>
            <a:off x="6290824" y="562761"/>
            <a:ext cx="5901176" cy="8881001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C7A248C3-C8DA-66E0-4FDF-FB83403E2792}"/>
              </a:ext>
            </a:extLst>
          </p:cNvPr>
          <p:cNvSpPr/>
          <p:nvPr/>
        </p:nvSpPr>
        <p:spPr>
          <a:xfrm>
            <a:off x="3892313" y="2793228"/>
            <a:ext cx="1275637" cy="386852"/>
          </a:xfrm>
          <a:prstGeom prst="rect">
            <a:avLst/>
          </a:prstGeom>
          <a:noFill/>
          <a:ln w="41275">
            <a:solidFill>
              <a:srgbClr val="E82E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1003E8AE-86C8-C486-B8E1-77DD67B3A5B3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5167950" y="2793228"/>
            <a:ext cx="3150140" cy="193426"/>
          </a:xfrm>
          <a:prstGeom prst="straightConnector1">
            <a:avLst/>
          </a:prstGeom>
          <a:ln w="3175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37D95807-389D-513F-E62E-43D54E4F6F92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5167950" y="2986654"/>
            <a:ext cx="3681082" cy="64085"/>
          </a:xfrm>
          <a:prstGeom prst="straightConnector1">
            <a:avLst/>
          </a:prstGeom>
          <a:ln w="31750">
            <a:solidFill>
              <a:schemeClr val="accent3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68731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263DB6-E317-1ABC-F00B-CE1F7ED5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262F30-994A-8D1E-A803-7AA473D619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and Rooms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EF9C33E-AD94-DE69-A811-321DDF94CD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DC97FB-C781-8AF3-4E8C-333308B69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17BD9FF-7D20-1B6F-B58C-722EB5B78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7</a:t>
            </a:fld>
            <a:endParaRPr lang="en-US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1DD1A7C-BF87-9E46-FB20-09C758E60F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463173"/>
            <a:ext cx="5811399" cy="317651"/>
          </a:xfrm>
        </p:spPr>
        <p:txBody>
          <a:bodyPr/>
          <a:lstStyle/>
          <a:p>
            <a:r>
              <a:rPr lang="en-US" dirty="0"/>
              <a:t>What to find where at the Lab Visits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10E220D-8A20-6045-3359-A1796DAB90D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212" t="68675" r="64363" b="11499"/>
          <a:stretch>
            <a:fillRect/>
          </a:stretch>
        </p:blipFill>
        <p:spPr>
          <a:xfrm>
            <a:off x="3700441" y="2729143"/>
            <a:ext cx="2177153" cy="210929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6339FCB-3C78-C7F4-98F9-51A0A4532C2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334" t="19213" b="10723"/>
          <a:stretch>
            <a:fillRect/>
          </a:stretch>
        </p:blipFill>
        <p:spPr>
          <a:xfrm>
            <a:off x="6258952" y="-1342473"/>
            <a:ext cx="5901176" cy="8881001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3601BAD9-E5F9-0CC5-8E60-EC6E3940B09E}"/>
              </a:ext>
            </a:extLst>
          </p:cNvPr>
          <p:cNvSpPr/>
          <p:nvPr/>
        </p:nvSpPr>
        <p:spPr>
          <a:xfrm>
            <a:off x="3892313" y="2793228"/>
            <a:ext cx="1275637" cy="386852"/>
          </a:xfrm>
          <a:prstGeom prst="rect">
            <a:avLst/>
          </a:prstGeom>
          <a:noFill/>
          <a:ln w="41275">
            <a:solidFill>
              <a:srgbClr val="E82E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04BF7885-2242-2305-84B0-DF1989DC63C9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5167950" y="2986654"/>
            <a:ext cx="2343895" cy="274513"/>
          </a:xfrm>
          <a:prstGeom prst="straightConnector1">
            <a:avLst/>
          </a:prstGeom>
          <a:ln w="31750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558E5955-82FC-3BE7-59BB-04B0F422F803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5167950" y="2986654"/>
            <a:ext cx="3474605" cy="748094"/>
          </a:xfrm>
          <a:prstGeom prst="straightConnector1">
            <a:avLst/>
          </a:prstGeom>
          <a:ln w="31750">
            <a:solidFill>
              <a:schemeClr val="accent3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9C317AAB-B3E7-70FC-CE93-F108A7CC9C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2060575"/>
            <a:ext cx="3221016" cy="39243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heck Indico and room plans in the stairways for sessions and lo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No meeting rooms on 2</a:t>
            </a:r>
            <a:r>
              <a:rPr lang="en-US" sz="1800" baseline="30000" dirty="0"/>
              <a:t>nd</a:t>
            </a:r>
            <a:r>
              <a:rPr lang="en-US" sz="1800" dirty="0"/>
              <a:t> floor</a:t>
            </a:r>
          </a:p>
        </p:txBody>
      </p:sp>
    </p:spTree>
    <p:extLst>
      <p:ext uri="{BB962C8B-B14F-4D97-AF65-F5344CB8AC3E}">
        <p14:creationId xmlns:p14="http://schemas.microsoft.com/office/powerpoint/2010/main" val="40860863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CE32B1-75D1-A90D-8461-902701A1E4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BF75AC-CA16-0E87-6FC0-103918C85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and Rooms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A5C49C7-5A66-59C1-550A-AD362BB59F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4AFB43-D781-2907-A95E-280C81DA06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51F2C2B-F3F1-ACE8-2C43-2A1B0E060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8</a:t>
            </a:fld>
            <a:endParaRPr lang="en-US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829F8C7-6849-B27C-5EEE-5247F72543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463173"/>
            <a:ext cx="5811399" cy="317651"/>
          </a:xfrm>
        </p:spPr>
        <p:txBody>
          <a:bodyPr/>
          <a:lstStyle/>
          <a:p>
            <a:r>
              <a:rPr lang="en-US" dirty="0"/>
              <a:t>What to find where at the Lab Visits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B603278-E946-1990-2D09-F73355C6ED2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212" t="68675" r="64363" b="11499"/>
          <a:stretch>
            <a:fillRect/>
          </a:stretch>
        </p:blipFill>
        <p:spPr>
          <a:xfrm>
            <a:off x="3700441" y="2729143"/>
            <a:ext cx="2177153" cy="210929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4F16A4E-E4D3-1317-EE19-02CA8C88A6B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334" t="19213" b="10723"/>
          <a:stretch>
            <a:fillRect/>
          </a:stretch>
        </p:blipFill>
        <p:spPr>
          <a:xfrm>
            <a:off x="6258952" y="-3583056"/>
            <a:ext cx="5901176" cy="8881001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9522549F-F4CA-8102-5A67-5D9DD64490B1}"/>
              </a:ext>
            </a:extLst>
          </p:cNvPr>
          <p:cNvSpPr/>
          <p:nvPr/>
        </p:nvSpPr>
        <p:spPr>
          <a:xfrm>
            <a:off x="3892313" y="2793228"/>
            <a:ext cx="1275637" cy="386852"/>
          </a:xfrm>
          <a:prstGeom prst="rect">
            <a:avLst/>
          </a:prstGeom>
          <a:noFill/>
          <a:ln w="41275">
            <a:solidFill>
              <a:srgbClr val="E82E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976BF952-801B-70F5-A4E6-77E40227D34D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5167950" y="2986654"/>
            <a:ext cx="2319970" cy="0"/>
          </a:xfrm>
          <a:prstGeom prst="straightConnector1">
            <a:avLst/>
          </a:prstGeom>
          <a:ln w="31750">
            <a:noFill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D41B587-5538-E926-5705-5167622D9A4A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5167950" y="2986654"/>
            <a:ext cx="4908450" cy="552959"/>
          </a:xfrm>
          <a:prstGeom prst="straightConnector1">
            <a:avLst/>
          </a:prstGeom>
          <a:ln w="31750">
            <a:solidFill>
              <a:schemeClr val="accent3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FD67352D-F72F-6F16-F67B-EBCA35B15275}"/>
              </a:ext>
            </a:extLst>
          </p:cNvPr>
          <p:cNvSpPr txBox="1">
            <a:spLocks/>
          </p:cNvSpPr>
          <p:nvPr/>
        </p:nvSpPr>
        <p:spPr bwMode="gray">
          <a:xfrm>
            <a:off x="479425" y="2060575"/>
            <a:ext cx="3221016" cy="392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FontTx/>
              <a:buNone/>
              <a:defRPr lang="en-US" sz="1400" b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Font typeface="Work Sans" pitchFamily="2" charset="0"/>
              <a:buChar char="▶"/>
              <a:defRPr lang="en-US" sz="14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0850" indent="-17938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lang="en-US" sz="14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3888" indent="-1730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Symbol" panose="05050102010706020507" pitchFamily="18" charset="2"/>
              <a:buChar char="-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1463" indent="-271463" algn="l" defTabSz="914400" rtl="0" eaLnBrk="1" latinLnBrk="0" hangingPunct="1">
              <a:lnSpc>
                <a:spcPct val="110000"/>
              </a:lnSpc>
              <a:spcBef>
                <a:spcPts val="900"/>
              </a:spcBef>
              <a:buClrTx/>
              <a:buFont typeface="+mj-lt"/>
              <a:buAutoNum type="arabicPeriod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lang="en-US" sz="16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Check </a:t>
            </a:r>
            <a:r>
              <a:rPr lang="de-DE" sz="1800" dirty="0" err="1"/>
              <a:t>Indico</a:t>
            </a:r>
            <a:r>
              <a:rPr lang="de-DE" sz="1800" dirty="0"/>
              <a:t> and </a:t>
            </a:r>
            <a:r>
              <a:rPr lang="de-DE" sz="1800" dirty="0" err="1"/>
              <a:t>room</a:t>
            </a:r>
            <a:r>
              <a:rPr lang="de-DE" sz="1800" dirty="0"/>
              <a:t> </a:t>
            </a:r>
            <a:r>
              <a:rPr lang="de-DE" sz="1800" dirty="0" err="1"/>
              <a:t>plans</a:t>
            </a:r>
            <a:r>
              <a:rPr lang="de-DE" sz="1800" dirty="0"/>
              <a:t> in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stairways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sessions</a:t>
            </a:r>
            <a:r>
              <a:rPr lang="de-DE" sz="1800" dirty="0"/>
              <a:t> and </a:t>
            </a:r>
            <a:r>
              <a:rPr lang="de-DE" sz="1800" dirty="0" err="1"/>
              <a:t>locations</a:t>
            </a: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/>
              <a:t>No</a:t>
            </a:r>
            <a:r>
              <a:rPr lang="de-DE" sz="1800" dirty="0"/>
              <a:t> </a:t>
            </a:r>
            <a:r>
              <a:rPr lang="de-DE" sz="1800" dirty="0" err="1"/>
              <a:t>meeting</a:t>
            </a:r>
            <a:r>
              <a:rPr lang="de-DE" sz="1800" dirty="0"/>
              <a:t> </a:t>
            </a:r>
            <a:r>
              <a:rPr lang="de-DE" sz="1800" dirty="0" err="1"/>
              <a:t>rooms</a:t>
            </a:r>
            <a:r>
              <a:rPr lang="de-DE" sz="1800" dirty="0"/>
              <a:t> on 2</a:t>
            </a:r>
            <a:r>
              <a:rPr lang="de-DE" sz="1800" baseline="30000" dirty="0"/>
              <a:t>nd</a:t>
            </a:r>
            <a:r>
              <a:rPr lang="de-DE" sz="1800" dirty="0"/>
              <a:t> </a:t>
            </a:r>
            <a:r>
              <a:rPr lang="de-DE" sz="1800" dirty="0" err="1"/>
              <a:t>floor</a:t>
            </a: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Additional </a:t>
            </a:r>
            <a:r>
              <a:rPr lang="de-DE" sz="1800" dirty="0" err="1"/>
              <a:t>meeting</a:t>
            </a:r>
            <a:r>
              <a:rPr lang="de-DE" sz="1800" dirty="0"/>
              <a:t> </a:t>
            </a:r>
            <a:r>
              <a:rPr lang="de-DE" sz="1800" dirty="0" err="1"/>
              <a:t>room</a:t>
            </a:r>
            <a:r>
              <a:rPr lang="de-DE" sz="1800" dirty="0"/>
              <a:t> in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basement</a:t>
            </a:r>
            <a:r>
              <a:rPr lang="de-DE" sz="1800" dirty="0"/>
              <a:t> (Lounge)</a:t>
            </a:r>
          </a:p>
        </p:txBody>
      </p:sp>
    </p:spTree>
    <p:extLst>
      <p:ext uri="{BB962C8B-B14F-4D97-AF65-F5344CB8AC3E}">
        <p14:creationId xmlns:p14="http://schemas.microsoft.com/office/powerpoint/2010/main" val="196537152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4C9111-B967-A720-4269-8D3F7653E6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4530C49B-8DED-FDC9-E255-E7B36EC8F16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212" t="68675" r="64363" b="11499"/>
          <a:stretch>
            <a:fillRect/>
          </a:stretch>
        </p:blipFill>
        <p:spPr>
          <a:xfrm>
            <a:off x="3700441" y="2729143"/>
            <a:ext cx="2177153" cy="21092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5F280F4-A7B6-AB83-F4F8-ADDEC0774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and Rooms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36321FF-BDBF-1015-A664-C4D176068F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3/22/2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C46DE4-F317-276F-15EC-2BE1D2074B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11354D4-BB21-A3F5-48C6-5DFD29129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9</a:t>
            </a:fld>
            <a:endParaRPr lang="en-US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2ECA1FB-DDED-D8CC-CC30-0351ABD578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463173"/>
            <a:ext cx="5811399" cy="317651"/>
          </a:xfrm>
        </p:spPr>
        <p:txBody>
          <a:bodyPr/>
          <a:lstStyle/>
          <a:p>
            <a:r>
              <a:rPr lang="en-US" dirty="0"/>
              <a:t>What to find where at the Lab Visit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70F86EF-8EC5-87D4-1681-3D3E6E58611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334" t="19213" b="10723"/>
          <a:stretch>
            <a:fillRect/>
          </a:stretch>
        </p:blipFill>
        <p:spPr>
          <a:xfrm>
            <a:off x="6258952" y="-2660646"/>
            <a:ext cx="5901176" cy="8881001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C603D77B-A7A9-AF7D-ECC4-7534713B9826}"/>
              </a:ext>
            </a:extLst>
          </p:cNvPr>
          <p:cNvSpPr/>
          <p:nvPr/>
        </p:nvSpPr>
        <p:spPr>
          <a:xfrm>
            <a:off x="3892313" y="3483941"/>
            <a:ext cx="1985281" cy="346379"/>
          </a:xfrm>
          <a:prstGeom prst="rect">
            <a:avLst/>
          </a:prstGeom>
          <a:noFill/>
          <a:ln w="41275">
            <a:solidFill>
              <a:srgbClr val="E82E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84B5F7BA-17E7-2297-8F13-8C6C215970A4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5877594" y="1351280"/>
            <a:ext cx="533366" cy="2305851"/>
          </a:xfrm>
          <a:prstGeom prst="straightConnector1">
            <a:avLst/>
          </a:prstGeom>
          <a:ln w="31750">
            <a:solidFill>
              <a:srgbClr val="E82E8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9B17BC78-74C6-4C03-CB9F-1FBC667E27BA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5877594" y="3657131"/>
            <a:ext cx="4089366" cy="1615909"/>
          </a:xfrm>
          <a:prstGeom prst="straightConnector1">
            <a:avLst/>
          </a:prstGeom>
          <a:ln w="31750">
            <a:solidFill>
              <a:schemeClr val="accent3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4C8C13B-D307-B96A-5E0A-D4B6CA53C165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5877594" y="2326640"/>
            <a:ext cx="4302726" cy="1330491"/>
          </a:xfrm>
          <a:prstGeom prst="straightConnector1">
            <a:avLst/>
          </a:prstGeom>
          <a:ln w="31750">
            <a:solidFill>
              <a:schemeClr val="accent3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502884D8-E4F3-2081-C029-D53CC0FCD131}"/>
              </a:ext>
            </a:extLst>
          </p:cNvPr>
          <p:cNvSpPr txBox="1">
            <a:spLocks/>
          </p:cNvSpPr>
          <p:nvPr/>
        </p:nvSpPr>
        <p:spPr bwMode="gray">
          <a:xfrm>
            <a:off x="479425" y="2060575"/>
            <a:ext cx="3221016" cy="392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FontTx/>
              <a:buNone/>
              <a:defRPr lang="en-US" sz="1400" b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Font typeface="Work Sans" pitchFamily="2" charset="0"/>
              <a:buChar char="▶"/>
              <a:defRPr lang="en-US" sz="14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0850" indent="-17938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lang="en-US" sz="14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3888" indent="-1730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Symbol" panose="05050102010706020507" pitchFamily="18" charset="2"/>
              <a:buChar char="-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1463" indent="-271463" algn="l" defTabSz="914400" rtl="0" eaLnBrk="1" latinLnBrk="0" hangingPunct="1">
              <a:lnSpc>
                <a:spcPct val="110000"/>
              </a:lnSpc>
              <a:spcBef>
                <a:spcPts val="900"/>
              </a:spcBef>
              <a:buClrTx/>
              <a:buFont typeface="+mj-lt"/>
              <a:buAutoNum type="arabicPeriod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lang="en-US" sz="16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600"/>
              </a:spcAft>
              <a:buClrTx/>
              <a:buFont typeface="+mj-lt"/>
              <a:buNone/>
              <a:defRPr sz="16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Working </a:t>
            </a:r>
            <a:r>
              <a:rPr lang="de-DE" sz="1800" dirty="0" err="1"/>
              <a:t>spaces</a:t>
            </a:r>
            <a:r>
              <a:rPr lang="de-DE" sz="1800" dirty="0"/>
              <a:t>:</a:t>
            </a:r>
            <a:br>
              <a:rPr lang="de-DE" sz="1800" dirty="0"/>
            </a:br>
            <a:r>
              <a:rPr lang="de-DE" sz="1800" dirty="0"/>
              <a:t>1</a:t>
            </a:r>
            <a:r>
              <a:rPr lang="de-DE" sz="1800" baseline="30000" dirty="0"/>
              <a:t>st</a:t>
            </a:r>
            <a:r>
              <a:rPr lang="de-DE" sz="1800" dirty="0"/>
              <a:t> &amp; 2</a:t>
            </a:r>
            <a:r>
              <a:rPr lang="de-DE" sz="1800" baseline="30000" dirty="0"/>
              <a:t>nd </a:t>
            </a:r>
            <a:r>
              <a:rPr lang="de-DE" sz="1800" dirty="0" err="1"/>
              <a:t>floor</a:t>
            </a:r>
            <a:endParaRPr lang="de-DE" sz="1800" baseline="30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spontaneous</a:t>
            </a:r>
            <a:r>
              <a:rPr lang="de-DE" sz="1800" dirty="0"/>
              <a:t>:</a:t>
            </a:r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sz="1800" dirty="0"/>
              <a:t>solo </a:t>
            </a:r>
            <a:r>
              <a:rPr lang="de-DE" sz="1800" dirty="0" err="1"/>
              <a:t>work</a:t>
            </a:r>
            <a:endParaRPr lang="de-DE" sz="1800" dirty="0"/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sz="1800" dirty="0" err="1"/>
              <a:t>small</a:t>
            </a:r>
            <a:r>
              <a:rPr lang="de-DE" sz="1800" dirty="0"/>
              <a:t> </a:t>
            </a:r>
            <a:r>
              <a:rPr lang="de-DE" sz="1800" dirty="0" err="1"/>
              <a:t>groups</a:t>
            </a: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Rooms </a:t>
            </a:r>
            <a:r>
              <a:rPr lang="de-DE" sz="1800" dirty="0" err="1"/>
              <a:t>are</a:t>
            </a:r>
            <a:r>
              <a:rPr lang="de-DE" sz="1800" dirty="0"/>
              <a:t> not </a:t>
            </a:r>
            <a:r>
              <a:rPr lang="de-DE" sz="1800" dirty="0" err="1"/>
              <a:t>locked</a:t>
            </a:r>
            <a:r>
              <a:rPr lang="de-DE" sz="1800" dirty="0"/>
              <a:t> !</a:t>
            </a:r>
          </a:p>
        </p:txBody>
      </p:sp>
    </p:spTree>
    <p:extLst>
      <p:ext uri="{BB962C8B-B14F-4D97-AF65-F5344CB8AC3E}">
        <p14:creationId xmlns:p14="http://schemas.microsoft.com/office/powerpoint/2010/main" val="198160023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marr Institut">
  <a:themeElements>
    <a:clrScheme name="Lamarr-Institut">
      <a:dk1>
        <a:srgbClr val="0C122B"/>
      </a:dk1>
      <a:lt1>
        <a:sysClr val="window" lastClr="FFFFFF"/>
      </a:lt1>
      <a:dk2>
        <a:srgbClr val="0C122B"/>
      </a:dk2>
      <a:lt2>
        <a:srgbClr val="FFFFFF"/>
      </a:lt2>
      <a:accent1>
        <a:srgbClr val="009EE3"/>
      </a:accent1>
      <a:accent2>
        <a:srgbClr val="59BDF7"/>
      </a:accent2>
      <a:accent3>
        <a:srgbClr val="E82E82"/>
      </a:accent3>
      <a:accent4>
        <a:srgbClr val="983082"/>
      </a:accent4>
      <a:accent5>
        <a:srgbClr val="35CDB4"/>
      </a:accent5>
      <a:accent6>
        <a:srgbClr val="FFBC29"/>
      </a:accent6>
      <a:hlink>
        <a:srgbClr val="009EE3"/>
      </a:hlink>
      <a:folHlink>
        <a:srgbClr val="983082"/>
      </a:folHlink>
    </a:clrScheme>
    <a:fontScheme name="Lamarr-Institut">
      <a:majorFont>
        <a:latin typeface="Work Sans SemiBold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9EE3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9EE3"/>
          </a:solidFill>
          <a:headEnd type="none" w="med" len="med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1960"/>
          </a:lnSpc>
          <a:buClr>
            <a:schemeClr val="accent1"/>
          </a:buClr>
          <a:defRPr sz="1400" dirty="0" smtClean="0"/>
        </a:defPPr>
      </a:lstStyle>
    </a:txDef>
  </a:objectDefaults>
  <a:extraClrSchemeLst/>
  <a:custClrLst>
    <a:custClr>
      <a:srgbClr val="0C122B"/>
    </a:custClr>
    <a:custClr>
      <a:srgbClr val="FFFFFF"/>
    </a:custClr>
    <a:custClr>
      <a:srgbClr val="009EE3"/>
    </a:custClr>
    <a:custClr>
      <a:srgbClr val="59BDF7"/>
    </a:custClr>
    <a:custClr>
      <a:srgbClr val="E82E82"/>
    </a:custClr>
    <a:custClr>
      <a:srgbClr val="983082"/>
    </a:custClr>
    <a:custClr>
      <a:srgbClr val="4A4AD8"/>
    </a:custClr>
    <a:custClr>
      <a:srgbClr val="35CDB4"/>
    </a:custClr>
    <a:custClr>
      <a:srgbClr val="FFBC29"/>
    </a:custClr>
    <a:custClr>
      <a:srgbClr val="EC6469"/>
    </a:custClr>
    <a:custClr>
      <a:srgbClr val="706F6F"/>
    </a:custClr>
  </a:custClrLst>
  <a:extLst>
    <a:ext uri="{05A4C25C-085E-4340-85A3-A5531E510DB2}">
      <thm15:themeFamily xmlns:thm15="http://schemas.microsoft.com/office/thememl/2012/main" name="01_Lamarr_PowerPoint_Master_Template.potx" id="{C81D1A75-B43E-4AE8-87FA-40C49100F4DD}" vid="{49068C5C-35A2-490B-B0AD-EE3C7608A2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amarr Institut</Template>
  <TotalTime>0</TotalTime>
  <Words>612</Words>
  <Application>Microsoft Macintosh PowerPoint</Application>
  <PresentationFormat>Breitbild</PresentationFormat>
  <Paragraphs>150</Paragraphs>
  <Slides>15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4" baseType="lpstr">
      <vt:lpstr>Arial</vt:lpstr>
      <vt:lpstr>Bradley Hand</vt:lpstr>
      <vt:lpstr>Symbol</vt:lpstr>
      <vt:lpstr>Systemschrift Normal</vt:lpstr>
      <vt:lpstr>Wingdings</vt:lpstr>
      <vt:lpstr>Work Sans</vt:lpstr>
      <vt:lpstr>Work Sans SemiBold</vt:lpstr>
      <vt:lpstr>Lamarr Institut</vt:lpstr>
      <vt:lpstr>think-cell Folie</vt:lpstr>
      <vt:lpstr>PowerPoint-Präsentation</vt:lpstr>
      <vt:lpstr>Program on Indico</vt:lpstr>
      <vt:lpstr>Social Dinner</vt:lpstr>
      <vt:lpstr>Directions to the Lamarr Institute</vt:lpstr>
      <vt:lpstr>Location and Rooms </vt:lpstr>
      <vt:lpstr>Location and Rooms </vt:lpstr>
      <vt:lpstr>Location and Rooms </vt:lpstr>
      <vt:lpstr>Location and Rooms </vt:lpstr>
      <vt:lpstr>Location and Rooms </vt:lpstr>
      <vt:lpstr>Location and Rooms </vt:lpstr>
      <vt:lpstr>Location and Rooms </vt:lpstr>
      <vt:lpstr>Location and Rooms </vt:lpstr>
      <vt:lpstr>Directions to the Lamarr Institute</vt:lpstr>
      <vt:lpstr>Lunch: Mensa Locations</vt:lpstr>
      <vt:lpstr>Group Photo: Simple Instruc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ens Buß</dc:creator>
  <cp:lastModifiedBy>Jens Buß</cp:lastModifiedBy>
  <cp:revision>9</cp:revision>
  <dcterms:created xsi:type="dcterms:W3CDTF">2026-03-22T08:18:36Z</dcterms:created>
  <dcterms:modified xsi:type="dcterms:W3CDTF">2026-03-22T12:07:10Z</dcterms:modified>
</cp:coreProperties>
</file>